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703" r:id="rId3"/>
    <p:sldMasterId id="2147483706" r:id="rId4"/>
  </p:sldMasterIdLst>
  <p:notesMasterIdLst>
    <p:notesMasterId r:id="rId29"/>
  </p:notesMasterIdLst>
  <p:sldIdLst>
    <p:sldId id="256" r:id="rId5"/>
    <p:sldId id="328" r:id="rId6"/>
    <p:sldId id="329" r:id="rId7"/>
    <p:sldId id="416" r:id="rId8"/>
    <p:sldId id="417" r:id="rId9"/>
    <p:sldId id="410" r:id="rId10"/>
    <p:sldId id="439" r:id="rId11"/>
    <p:sldId id="440" r:id="rId12"/>
    <p:sldId id="436" r:id="rId13"/>
    <p:sldId id="441" r:id="rId14"/>
    <p:sldId id="442" r:id="rId15"/>
    <p:sldId id="443" r:id="rId16"/>
    <p:sldId id="444" r:id="rId17"/>
    <p:sldId id="445" r:id="rId18"/>
    <p:sldId id="324" r:id="rId19"/>
    <p:sldId id="383" r:id="rId20"/>
    <p:sldId id="385" r:id="rId21"/>
    <p:sldId id="386" r:id="rId22"/>
    <p:sldId id="446" r:id="rId23"/>
    <p:sldId id="447" r:id="rId24"/>
    <p:sldId id="448" r:id="rId25"/>
    <p:sldId id="449" r:id="rId26"/>
    <p:sldId id="450" r:id="rId27"/>
    <p:sldId id="451" r:id="rId28"/>
  </p:sldIdLst>
  <p:sldSz cx="9144000" cy="5145088"/>
  <p:notesSz cx="6810375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Мареева Марина Владимировна" initials="ММВ" lastIdx="4" clrIdx="0"/>
  <p:cmAuthor id="1" name="Лапина Наталья Игоревна" initials="ЛНИ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080"/>
    <a:srgbClr val="FF6600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38" autoAdjust="0"/>
    <p:restoredTop sz="94660"/>
  </p:normalViewPr>
  <p:slideViewPr>
    <p:cSldViewPr>
      <p:cViewPr varScale="1">
        <p:scale>
          <a:sx n="151" d="100"/>
          <a:sy n="151" d="100"/>
        </p:scale>
        <p:origin x="-576" y="-9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935860233985301E-2"/>
          <c:y val="6.8834286562429903E-2"/>
          <c:w val="0.94320310925904605"/>
          <c:h val="0.779518485195417"/>
        </c:manualLayout>
      </c:layout>
      <c:lineChart>
        <c:grouping val="standard"/>
        <c:varyColors val="0"/>
        <c:ser>
          <c:idx val="0"/>
          <c:order val="0"/>
          <c:tx>
            <c:strRef>
              <c:f>Sheet1!$A$9</c:f>
              <c:strCache>
                <c:ptCount val="1"/>
                <c:pt idx="0">
                  <c:v>Оборот перевозок, тыс.руб.</c:v>
                </c:pt>
              </c:strCache>
            </c:strRef>
          </c:tx>
          <c:spPr>
            <a:ln w="69850" cmpd="dbl">
              <a:solidFill>
                <a:schemeClr val="accent1"/>
              </a:solidFill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c:spPr>
          <c:marker>
            <c:symbol val="circle"/>
            <c:size val="11"/>
            <c:spPr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srgbClr val="000000">
                    <a:alpha val="43000"/>
                  </a:srgbClr>
                </a:outerShdw>
              </a:effectLst>
            </c:spPr>
          </c:marker>
          <c:dLbls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8:$E$8</c:f>
              <c:strCache>
                <c:ptCount val="4"/>
                <c:pt idx="0">
                  <c:v>2012 г</c:v>
                </c:pt>
                <c:pt idx="1">
                  <c:v>2013 г</c:v>
                </c:pt>
                <c:pt idx="2">
                  <c:v>2014 г</c:v>
                </c:pt>
                <c:pt idx="3">
                  <c:v>2015 г</c:v>
                </c:pt>
              </c:strCache>
            </c:strRef>
          </c:cat>
          <c:val>
            <c:numRef>
              <c:f>Sheet1!$B$9:$E$9</c:f>
              <c:numCache>
                <c:formatCode>_-* #,##0_-;\-* #,##0_-;_-* "-"_-;_-@_-</c:formatCode>
                <c:ptCount val="4"/>
                <c:pt idx="0">
                  <c:v>1182.8143026</c:v>
                </c:pt>
                <c:pt idx="1">
                  <c:v>1311.6793834</c:v>
                </c:pt>
                <c:pt idx="2">
                  <c:v>1375.9856695999999</c:v>
                </c:pt>
                <c:pt idx="3">
                  <c:v>1500.7299992999999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>
              <a:solidFill>
                <a:schemeClr val="bg1">
                  <a:lumMod val="75000"/>
                </a:schemeClr>
              </a:solidFill>
              <a:prstDash val="dash"/>
              <a:bevel/>
              <a:headEnd type="none"/>
              <a:tailEnd type="oval"/>
            </a:ln>
          </c:spPr>
        </c:dropLines>
        <c:marker val="1"/>
        <c:smooth val="0"/>
        <c:axId val="72371200"/>
        <c:axId val="72377088"/>
      </c:lineChart>
      <c:catAx>
        <c:axId val="72371200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72377088"/>
        <c:crosses val="autoZero"/>
        <c:auto val="1"/>
        <c:lblAlgn val="ctr"/>
        <c:lblOffset val="100"/>
        <c:noMultiLvlLbl val="0"/>
      </c:catAx>
      <c:valAx>
        <c:axId val="72377088"/>
        <c:scaling>
          <c:orientation val="minMax"/>
        </c:scaling>
        <c:delete val="1"/>
        <c:axPos val="l"/>
        <c:numFmt formatCode="_-* #,##0_-;\-* #,##0_-;_-* &quot;-&quot;_-;_-@_-" sourceLinked="1"/>
        <c:majorTickMark val="none"/>
        <c:minorTickMark val="none"/>
        <c:tickLblPos val="nextTo"/>
        <c:crossAx val="723712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50000"/>
                </a:schemeClr>
              </a:solidFill>
            </c:spPr>
          </c:dPt>
          <c:dPt>
            <c:idx val="1"/>
            <c:bubble3D val="0"/>
            <c:spPr>
              <a:solidFill>
                <a:srgbClr val="004080"/>
              </a:solidFill>
            </c:spPr>
          </c:dPt>
          <c:dPt>
            <c:idx val="2"/>
            <c:bubble3D val="0"/>
            <c:spPr>
              <a:solidFill>
                <a:srgbClr val="FF6600"/>
              </a:solidFill>
            </c:spPr>
          </c:dPt>
          <c:dPt>
            <c:idx val="3"/>
            <c:bubble3D val="0"/>
            <c:spPr>
              <a:solidFill>
                <a:schemeClr val="bg2">
                  <a:lumMod val="25000"/>
                </a:schemeClr>
              </a:solidFill>
            </c:spPr>
          </c:dPt>
          <c:dLbls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</c:dLbls>
          <c:cat>
            <c:strRef>
              <c:f>Sheet1!$A$2:$A$5</c:f>
              <c:strCache>
                <c:ptCount val="4"/>
                <c:pt idx="0">
                  <c:v>Воздушный</c:v>
                </c:pt>
                <c:pt idx="1">
                  <c:v>Железнодорожный</c:v>
                </c:pt>
                <c:pt idx="2">
                  <c:v>Наземный</c:v>
                </c:pt>
                <c:pt idx="3">
                  <c:v>Метрополитены</c:v>
                </c:pt>
              </c:strCache>
            </c:strRef>
          </c:cat>
          <c:val>
            <c:numRef>
              <c:f>Sheet1!$D$2:$D$5</c:f>
              <c:numCache>
                <c:formatCode>_-* #,##0_-;\-* #,##0_-;_-* "-"_-;_-@_-</c:formatCode>
                <c:ptCount val="4"/>
                <c:pt idx="0">
                  <c:v>855.41609960099959</c:v>
                </c:pt>
                <c:pt idx="1">
                  <c:v>405.19709981099999</c:v>
                </c:pt>
                <c:pt idx="2">
                  <c:v>180.08759991599999</c:v>
                </c:pt>
                <c:pt idx="3">
                  <c:v>60.029199972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legend>
      <c:legendPos val="r"/>
      <c:layout>
        <c:manualLayout>
          <c:xMode val="edge"/>
          <c:yMode val="edge"/>
          <c:x val="0.64697781186178605"/>
          <c:y val="0.25758487152221199"/>
          <c:w val="0.34645917911743501"/>
          <c:h val="0.38404780421223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532314680354199"/>
          <c:y val="6.3519935487445306E-2"/>
          <c:w val="0.797015279794686"/>
          <c:h val="0.7555301971695730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Наземный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rgbClr val="FFFFFF"/>
                      </a:solidFill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</c:f>
              <c:strCache>
                <c:ptCount val="1"/>
                <c:pt idx="0">
                  <c:v>Перевезенные пассажиры, млн.поездок</c:v>
                </c:pt>
              </c:strCache>
            </c:strRef>
          </c:cat>
          <c:val>
            <c:numRef>
              <c:f>Sheet1!$B$2</c:f>
              <c:numCache>
                <c:formatCode>_-* #,##0_-;\-* #,##0_-;_-* "-"_-;_-@_-</c:formatCode>
                <c:ptCount val="1"/>
                <c:pt idx="0">
                  <c:v>1490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Метрополитены</c:v>
                </c:pt>
              </c:strCache>
            </c:strRef>
          </c:tx>
          <c:spPr>
            <a:solidFill>
              <a:schemeClr val="bg2">
                <a:lumMod val="2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</c:f>
              <c:strCache>
                <c:ptCount val="1"/>
                <c:pt idx="0">
                  <c:v>Перевезенные пассажиры, млн.поездок</c:v>
                </c:pt>
              </c:strCache>
            </c:strRef>
          </c:cat>
          <c:val>
            <c:numRef>
              <c:f>Sheet1!$B$3</c:f>
              <c:numCache>
                <c:formatCode>_-* #,##0_-;\-* #,##0_-;_-* "-"_-;_-@_-</c:formatCode>
                <c:ptCount val="1"/>
                <c:pt idx="0">
                  <c:v>3437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Железнодорожный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4080"/>
              </a:solidFill>
            </c:spPr>
          </c:dPt>
          <c:dLbls>
            <c:txPr>
              <a:bodyPr/>
              <a:lstStyle/>
              <a:p>
                <a:pPr>
                  <a:defRPr>
                    <a:solidFill>
                      <a:srgbClr val="FFFFFF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</c:f>
              <c:strCache>
                <c:ptCount val="1"/>
                <c:pt idx="0">
                  <c:v>Перевезенные пассажиры, млн.поездок</c:v>
                </c:pt>
              </c:strCache>
            </c:strRef>
          </c:cat>
          <c:val>
            <c:numRef>
              <c:f>Sheet1!$B$4</c:f>
              <c:numCache>
                <c:formatCode>_-* #,##0_-;\-* #,##0_-;_-* "-"_-;_-@_-</c:formatCode>
                <c:ptCount val="1"/>
                <c:pt idx="0">
                  <c:v>1070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Воздушный</c:v>
                </c:pt>
              </c:strCache>
            </c:strRef>
          </c:tx>
          <c:spPr>
            <a:solidFill>
              <a:srgbClr val="657111"/>
            </a:solidFill>
          </c:spPr>
          <c:invertIfNegative val="0"/>
          <c:dLbls>
            <c:dLbl>
              <c:idx val="0"/>
              <c:layout>
                <c:manualLayout>
                  <c:x val="4.8329695286978497E-3"/>
                  <c:y val="-2.58638105416819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B$1</c:f>
              <c:strCache>
                <c:ptCount val="1"/>
                <c:pt idx="0">
                  <c:v>Перевезенные пассажиры, млн.поездок</c:v>
                </c:pt>
              </c:strCache>
            </c:strRef>
          </c:cat>
          <c:val>
            <c:numRef>
              <c:f>Sheet1!$B$5</c:f>
              <c:numCache>
                <c:formatCode>_-* #,##0_-;\-* #,##0_-;_-* "-"_-;_-@_-</c:formatCode>
                <c:ptCount val="1"/>
                <c:pt idx="0">
                  <c:v>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2705152"/>
        <c:axId val="72706688"/>
      </c:barChart>
      <c:catAx>
        <c:axId val="72705152"/>
        <c:scaling>
          <c:orientation val="minMax"/>
        </c:scaling>
        <c:delete val="0"/>
        <c:axPos val="b"/>
        <c:majorTickMark val="out"/>
        <c:minorTickMark val="none"/>
        <c:tickLblPos val="nextTo"/>
        <c:crossAx val="72706688"/>
        <c:crosses val="autoZero"/>
        <c:auto val="1"/>
        <c:lblAlgn val="ctr"/>
        <c:lblOffset val="100"/>
        <c:noMultiLvlLbl val="0"/>
      </c:catAx>
      <c:valAx>
        <c:axId val="72706688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727051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4166666666667"/>
          <c:y val="6.9444444444444397E-3"/>
          <c:w val="0.59166666666666701"/>
          <c:h val="0.98611111111111105"/>
        </c:manualLayout>
      </c:layout>
      <c:doughnutChart>
        <c:varyColors val="1"/>
        <c:ser>
          <c:idx val="0"/>
          <c:order val="0"/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explosion val="14"/>
            <c:spPr>
              <a:solidFill>
                <a:srgbClr val="FFC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4.1519572537917201E-2"/>
                  <c:y val="-8.5115918051147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Лист1!$A$1:$A$2</c:f>
              <c:numCache>
                <c:formatCode>0%</c:formatCode>
                <c:ptCount val="2"/>
                <c:pt idx="0">
                  <c:v>0.66</c:v>
                </c:pt>
                <c:pt idx="1">
                  <c:v>0.44</c:v>
                </c:pt>
              </c:numCache>
            </c:numRef>
          </c:val>
        </c:ser>
        <c:ser>
          <c:idx val="1"/>
          <c:order val="1"/>
          <c:spPr>
            <a:solidFill>
              <a:srgbClr val="FFC000"/>
            </a:solidFill>
            <a:ln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FF6600"/>
              </a:solid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/>
                </a:solidFill>
              </a:ln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r>
                      <a:rPr lang="ru-RU" smtClean="0"/>
                      <a:t>3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5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24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val>
            <c:numRef>
              <c:f>Лист1!$B$1:$B$2</c:f>
              <c:numCache>
                <c:formatCode>General</c:formatCode>
                <c:ptCount val="2"/>
                <c:pt idx="0">
                  <c:v>108</c:v>
                </c:pt>
                <c:pt idx="1">
                  <c:v>4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14"/>
        <c:holeSize val="26"/>
      </c:doughnut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C$45</c:f>
              <c:strCache>
                <c:ptCount val="1"/>
                <c:pt idx="0">
                  <c:v>Количество проходов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txPr>
              <a:bodyPr/>
              <a:lstStyle/>
              <a:p>
                <a:pPr>
                  <a:defRPr sz="9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46:$B$54</c:f>
              <c:strCache>
                <c:ptCount val="9"/>
                <c:pt idx="0">
                  <c:v>Апрель</c:v>
                </c:pt>
                <c:pt idx="1">
                  <c:v>Май</c:v>
                </c:pt>
                <c:pt idx="2">
                  <c:v>Июнь</c:v>
                </c:pt>
                <c:pt idx="3">
                  <c:v>Июль</c:v>
                </c:pt>
                <c:pt idx="4">
                  <c:v>Август</c:v>
                </c:pt>
                <c:pt idx="5">
                  <c:v>Сентябрь</c:v>
                </c:pt>
                <c:pt idx="6">
                  <c:v>Октябрь</c:v>
                </c:pt>
                <c:pt idx="7">
                  <c:v>Ноябрь</c:v>
                </c:pt>
                <c:pt idx="8">
                  <c:v>Декабрь</c:v>
                </c:pt>
              </c:strCache>
            </c:strRef>
          </c:cat>
          <c:val>
            <c:numRef>
              <c:f>Лист1!$C$46:$C$54</c:f>
              <c:numCache>
                <c:formatCode>#,##0</c:formatCode>
                <c:ptCount val="9"/>
                <c:pt idx="0">
                  <c:v>6388</c:v>
                </c:pt>
                <c:pt idx="1">
                  <c:v>11024</c:v>
                </c:pt>
                <c:pt idx="2">
                  <c:v>14297</c:v>
                </c:pt>
                <c:pt idx="3">
                  <c:v>16572</c:v>
                </c:pt>
                <c:pt idx="4">
                  <c:v>21659</c:v>
                </c:pt>
                <c:pt idx="5">
                  <c:v>26969</c:v>
                </c:pt>
                <c:pt idx="6">
                  <c:v>33593</c:v>
                </c:pt>
                <c:pt idx="7">
                  <c:v>41897</c:v>
                </c:pt>
                <c:pt idx="8">
                  <c:v>558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0564096"/>
        <c:axId val="50582272"/>
        <c:axId val="0"/>
      </c:bar3DChart>
      <c:catAx>
        <c:axId val="505640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50582272"/>
        <c:crosses val="autoZero"/>
        <c:auto val="1"/>
        <c:lblAlgn val="ctr"/>
        <c:lblOffset val="100"/>
        <c:noMultiLvlLbl val="0"/>
      </c:catAx>
      <c:valAx>
        <c:axId val="5058227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ru-RU"/>
          </a:p>
        </c:txPr>
        <c:crossAx val="5056409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21221527251192335"/>
          <c:y val="0.17085775191645372"/>
        </c:manualLayout>
      </c:layout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C$57</c:f>
              <c:strCache>
                <c:ptCount val="1"/>
                <c:pt idx="0">
                  <c:v>Торговый оборот, руб.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txPr>
              <a:bodyPr/>
              <a:lstStyle/>
              <a:p>
                <a:pPr>
                  <a:defRPr sz="8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58:$B$66</c:f>
              <c:strCache>
                <c:ptCount val="9"/>
                <c:pt idx="0">
                  <c:v>Апрель</c:v>
                </c:pt>
                <c:pt idx="1">
                  <c:v>Май</c:v>
                </c:pt>
                <c:pt idx="2">
                  <c:v>Июнь</c:v>
                </c:pt>
                <c:pt idx="3">
                  <c:v>Июль</c:v>
                </c:pt>
                <c:pt idx="4">
                  <c:v>Август</c:v>
                </c:pt>
                <c:pt idx="5">
                  <c:v>Сентябрь</c:v>
                </c:pt>
                <c:pt idx="6">
                  <c:v>Октябрь</c:v>
                </c:pt>
                <c:pt idx="7">
                  <c:v>Ноябрь</c:v>
                </c:pt>
                <c:pt idx="8">
                  <c:v>Декабрь</c:v>
                </c:pt>
              </c:strCache>
            </c:strRef>
          </c:cat>
          <c:val>
            <c:numRef>
              <c:f>Лист1!$C$58:$C$66</c:f>
              <c:numCache>
                <c:formatCode>#,##0</c:formatCode>
                <c:ptCount val="9"/>
                <c:pt idx="0">
                  <c:v>126760</c:v>
                </c:pt>
                <c:pt idx="1">
                  <c:v>219120</c:v>
                </c:pt>
                <c:pt idx="2">
                  <c:v>285160</c:v>
                </c:pt>
                <c:pt idx="3">
                  <c:v>330340</c:v>
                </c:pt>
                <c:pt idx="4">
                  <c:v>431380</c:v>
                </c:pt>
                <c:pt idx="5">
                  <c:v>538340</c:v>
                </c:pt>
                <c:pt idx="6">
                  <c:v>667380</c:v>
                </c:pt>
                <c:pt idx="7">
                  <c:v>833300</c:v>
                </c:pt>
                <c:pt idx="8">
                  <c:v>11113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73741440"/>
        <c:axId val="73742976"/>
        <c:axId val="0"/>
      </c:bar3DChart>
      <c:catAx>
        <c:axId val="737414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 b="0"/>
            </a:pPr>
            <a:endParaRPr lang="ru-RU"/>
          </a:p>
        </c:txPr>
        <c:crossAx val="73742976"/>
        <c:crosses val="autoZero"/>
        <c:auto val="1"/>
        <c:lblAlgn val="ctr"/>
        <c:lblOffset val="100"/>
        <c:noMultiLvlLbl val="0"/>
      </c:catAx>
      <c:valAx>
        <c:axId val="737429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800" b="1"/>
            </a:pPr>
            <a:endParaRPr lang="ru-RU"/>
          </a:p>
        </c:txPr>
        <c:crossAx val="7374144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092" y="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/>
          <a:lstStyle>
            <a:lvl1pPr algn="r">
              <a:defRPr sz="1200"/>
            </a:lvl1pPr>
          </a:lstStyle>
          <a:p>
            <a:fld id="{A2F3786B-C69B-47F7-8A4D-D928C61E7A8A}" type="datetimeFigureOut">
              <a:rPr lang="ru-RU" smtClean="0"/>
              <a:t>24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3050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86" tIns="45793" rIns="91586" bIns="4579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3330"/>
            <a:ext cx="5448300" cy="4473813"/>
          </a:xfrm>
          <a:prstGeom prst="rect">
            <a:avLst/>
          </a:prstGeom>
        </p:spPr>
        <p:txBody>
          <a:bodyPr vert="horz" lIns="91586" tIns="45793" rIns="91586" bIns="4579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48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092" y="9443480"/>
            <a:ext cx="2951693" cy="497444"/>
          </a:xfrm>
          <a:prstGeom prst="rect">
            <a:avLst/>
          </a:prstGeom>
        </p:spPr>
        <p:txBody>
          <a:bodyPr vert="horz" lIns="91586" tIns="45793" rIns="91586" bIns="45793" rtlCol="0" anchor="b"/>
          <a:lstStyle>
            <a:lvl1pPr algn="r">
              <a:defRPr sz="1200"/>
            </a:lvl1pPr>
          </a:lstStyle>
          <a:p>
            <a:fld id="{E436914B-5603-4966-B479-144F5586E1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6405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0762276"/>
              </p:ext>
            </p:extLst>
          </p:nvPr>
        </p:nvGraphicFramePr>
        <p:xfrm>
          <a:off x="1591" y="164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 r="2445" b="602"/>
          <a:stretch/>
        </p:blipFill>
        <p:spPr>
          <a:xfrm>
            <a:off x="0" y="-20493"/>
            <a:ext cx="9180512" cy="51824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0825" y="3110635"/>
            <a:ext cx="6400800" cy="586082"/>
          </a:xfrm>
        </p:spPr>
        <p:txBody>
          <a:bodyPr>
            <a:normAutofit/>
          </a:bodyPr>
          <a:lstStyle>
            <a:lvl1pPr algn="l">
              <a:defRPr sz="1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5" y="3750437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8" name="Picture 7" descr="Screen Shot 2013-12-24 at 12.16.45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5" y="219430"/>
            <a:ext cx="2457291" cy="788803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152122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652984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1620" userDrawn="1">
          <p15:clr>
            <a:srgbClr val="FBAE40"/>
          </p15:clr>
        </p15:guide>
        <p15:guide id="2" pos="15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" y="4705370"/>
            <a:ext cx="594677" cy="43726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09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63" y="4747497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21" y="299914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47197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4707223"/>
            <a:ext cx="638310" cy="43083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09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47497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21" y="299914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90043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2" y="4771894"/>
            <a:ext cx="451939" cy="377152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09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47497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21" y="299914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53032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09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2459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3588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21" y="299914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19188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729823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7152" y="1652794"/>
            <a:ext cx="6400800" cy="586082"/>
          </a:xfr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87152" y="2292635"/>
            <a:ext cx="6400800" cy="64127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9" name="Picture 3" descr="C:\Users\amosova-pn\Desktop\Информация\Амосовой Полине\Бренд\есть\Логотипы\PI_S1\PI_S1_RGB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177" y="190384"/>
            <a:ext cx="2869913" cy="336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>
            <a:off x="0" y="721311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89762" y="3446599"/>
            <a:ext cx="3930868" cy="1608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851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162" y="4991450"/>
            <a:ext cx="241953" cy="12823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086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6" y="26249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60"/>
            <a:ext cx="301290" cy="93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9" y="381578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17" y="501883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12"/>
            <a:ext cx="9140760" cy="514630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564"/>
              <a:ext cx="3226" cy="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11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smtClean="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2111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 smtClean="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0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82" y="4932442"/>
            <a:ext cx="1670055" cy="14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608" y="1536258"/>
            <a:ext cx="6259287" cy="507831"/>
          </a:xfrm>
          <a:prstGeom prst="rect">
            <a:avLst/>
          </a:prstGeom>
        </p:spPr>
        <p:txBody>
          <a:bodyPr anchor="ctr" anchorCtr="0"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9" y="626596"/>
            <a:ext cx="9145619" cy="34997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err="1" smtClean="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2" y="127085"/>
            <a:ext cx="1985020" cy="478058"/>
          </a:xfrm>
          <a:prstGeom prst="rect">
            <a:avLst/>
          </a:prstGeom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615" y="2774611"/>
            <a:ext cx="5909557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72090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4" y="2830196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88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9338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4" y="2830196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88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79792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4" y="2830196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88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4568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810601"/>
            <a:ext cx="9144000" cy="33453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459" y="8519"/>
            <a:ext cx="7040076" cy="1024783"/>
          </a:xfrm>
        </p:spPr>
        <p:txBody>
          <a:bodyPr lIns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459" y="1283752"/>
            <a:ext cx="8447610" cy="35268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1" y="4845007"/>
            <a:ext cx="241953" cy="27472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0420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4" y="2830196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88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62517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4" y="2830196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885"/>
            <a:ext cx="5293639" cy="507831"/>
          </a:xfrm>
        </p:spPr>
        <p:txBody>
          <a:bodyPr/>
          <a:lstStyle>
            <a:lvl1pPr>
              <a:defRPr sz="33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2191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er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7" y="4705370"/>
            <a:ext cx="594677" cy="437267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10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source"/>
          <p:cNvSpPr>
            <a:spLocks noGrp="1"/>
          </p:cNvSpPr>
          <p:nvPr>
            <p:ph type="body" sz="quarter" idx="11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21" name="footnote"/>
          <p:cNvSpPr>
            <a:spLocks noGrp="1"/>
          </p:cNvSpPr>
          <p:nvPr>
            <p:ph type="body" sz="quarter" idx="12" hasCustomPrompt="1"/>
          </p:nvPr>
        </p:nvSpPr>
        <p:spPr>
          <a:xfrm>
            <a:off x="640363" y="4747496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11" y="299916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99515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n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34" y="4707192"/>
            <a:ext cx="638310" cy="430835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10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47496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1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11" y="299916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7319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ves in the cor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3" y="4771905"/>
            <a:ext cx="451939" cy="377153"/>
          </a:xfrm>
          <a:prstGeom prst="rect">
            <a:avLst/>
          </a:prstGeom>
        </p:spPr>
      </p:pic>
      <p:sp>
        <p:nvSpPr>
          <p:cNvPr id="4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10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footnote"/>
          <p:cNvSpPr>
            <a:spLocks noGrp="1"/>
          </p:cNvSpPr>
          <p:nvPr>
            <p:ph type="body" sz="quarter" idx="13" hasCustomPrompt="1"/>
          </p:nvPr>
        </p:nvSpPr>
        <p:spPr>
          <a:xfrm>
            <a:off x="640363" y="4747496"/>
            <a:ext cx="7926979" cy="153888"/>
          </a:xfrm>
        </p:spPr>
        <p:txBody>
          <a:bodyPr anchor="b" anchorCtr="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6" name="source"/>
          <p:cNvSpPr>
            <a:spLocks noGrp="1"/>
          </p:cNvSpPr>
          <p:nvPr>
            <p:ph type="body" sz="quarter" idx="14" hasCustomPrompt="1"/>
          </p:nvPr>
        </p:nvSpPr>
        <p:spPr>
          <a:xfrm>
            <a:off x="640363" y="4962459"/>
            <a:ext cx="7926979" cy="153888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11" y="299916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67395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72" y="1289310"/>
            <a:ext cx="6331957" cy="1231106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4962459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4783587"/>
            <a:ext cx="8445848" cy="153888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511" y="299916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001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162" y="4991450"/>
            <a:ext cx="241953" cy="12823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395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262494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27991"/>
            <a:ext cx="301290" cy="935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9" y="381582"/>
            <a:ext cx="28533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1.06.2013 11:21 Russian Standard Time</a:t>
            </a:r>
            <a:endParaRPr lang="ru-RU" sz="90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41" y="501886"/>
            <a:ext cx="253274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Printed 10.06.2013 11:52 Russian Standard Time</a:t>
            </a:r>
            <a:endParaRPr lang="ru-RU" sz="900" smtClean="0">
              <a:solidFill>
                <a:srgbClr val="000000"/>
              </a:solidFill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3" y="45"/>
            <a:ext cx="9140760" cy="514630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smtClean="0">
                  <a:solidFill>
                    <a:srgbClr val="000000"/>
                  </a:solidFill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smtClean="0">
                  <a:solidFill>
                    <a:srgbClr val="000000"/>
                  </a:solidFill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564"/>
              <a:ext cx="3226" cy="3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>
                  <a:solidFill>
                    <a:srgbClr val="000000"/>
                  </a:solidFill>
                </a:rPr>
                <a:t>КОНФИДЕНЦИАЛЬНАЯ ИНФОРМАЦИЯ, СОБСТВЕННОСТЬ McKINSEY &amp; COMPANY</a:t>
              </a:r>
            </a:p>
            <a:p>
              <a:pPr defTabSz="804863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800">
                  <a:solidFill>
                    <a:srgbClr val="000000"/>
                  </a:solidFill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sz="1600">
                <a:solidFill>
                  <a:srgbClr val="000000"/>
                </a:solidFill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90" y="4932432"/>
            <a:ext cx="1670055" cy="147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0608" y="1543997"/>
            <a:ext cx="6259287" cy="492443"/>
          </a:xfrm>
          <a:prstGeom prst="rect">
            <a:avLst/>
          </a:prstGeom>
        </p:spPr>
        <p:txBody>
          <a:bodyPr anchor="ctr" anchorCtr="0"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618" y="626596"/>
            <a:ext cx="9145619" cy="34997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0000"/>
              </a:solidFill>
            </a:endParaRPr>
          </a:p>
        </p:txBody>
      </p:sp>
      <p:pic>
        <p:nvPicPr>
          <p:cNvPr id="36" name="Picture 7" descr="Screen Shot 2013-12-24 at 12.16.45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3" y="127128"/>
            <a:ext cx="1985020" cy="478059"/>
          </a:xfrm>
          <a:prstGeom prst="rect">
            <a:avLst/>
          </a:prstGeom>
        </p:spPr>
      </p:pic>
      <p:grpSp>
        <p:nvGrpSpPr>
          <p:cNvPr id="2" name="Группа 1"/>
          <p:cNvGrpSpPr/>
          <p:nvPr userDrawn="1"/>
        </p:nvGrpSpPr>
        <p:grpSpPr>
          <a:xfrm>
            <a:off x="-9156" y="3664477"/>
            <a:ext cx="9175002" cy="1618052"/>
            <a:chOff x="-8976" y="4787170"/>
            <a:chExt cx="8991821" cy="2113802"/>
          </a:xfrm>
        </p:grpSpPr>
        <p:pic>
          <p:nvPicPr>
            <p:cNvPr id="43" name="Picture 2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19" r="801"/>
            <a:stretch/>
          </p:blipFill>
          <p:spPr bwMode="auto">
            <a:xfrm>
              <a:off x="-1" y="4787170"/>
              <a:ext cx="8961439" cy="1841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44" name="Группа 43"/>
            <p:cNvGrpSpPr/>
            <p:nvPr userDrawn="1"/>
          </p:nvGrpSpPr>
          <p:grpSpPr>
            <a:xfrm>
              <a:off x="-8976" y="5750183"/>
              <a:ext cx="8991821" cy="1150789"/>
              <a:chOff x="-8976" y="5750183"/>
              <a:chExt cx="8991821" cy="1150789"/>
            </a:xfrm>
          </p:grpSpPr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 rot="21401812">
                <a:off x="3021" y="6317320"/>
                <a:ext cx="5333974" cy="583652"/>
              </a:xfrm>
              <a:custGeom>
                <a:avLst/>
                <a:gdLst/>
                <a:ahLst/>
                <a:cxnLst/>
                <a:rect l="l" t="t" r="r" b="b"/>
                <a:pathLst>
                  <a:path w="5333974" h="583652">
                    <a:moveTo>
                      <a:pt x="5276645" y="572390"/>
                    </a:moveTo>
                    <a:cubicBezTo>
                      <a:pt x="5295731" y="576282"/>
                      <a:pt x="5314854" y="579973"/>
                      <a:pt x="5333974" y="583652"/>
                    </a:cubicBezTo>
                    <a:lnTo>
                      <a:pt x="5276180" y="580462"/>
                    </a:lnTo>
                    <a:close/>
                    <a:moveTo>
                      <a:pt x="2002421" y="7710"/>
                    </a:moveTo>
                    <a:cubicBezTo>
                      <a:pt x="2746081" y="41292"/>
                      <a:pt x="3941635" y="311324"/>
                      <a:pt x="5151013" y="547708"/>
                    </a:cubicBezTo>
                    <a:lnTo>
                      <a:pt x="3682725" y="462967"/>
                    </a:lnTo>
                    <a:lnTo>
                      <a:pt x="3682598" y="465178"/>
                    </a:lnTo>
                    <a:cubicBezTo>
                      <a:pt x="2972445" y="364324"/>
                      <a:pt x="2335517" y="281380"/>
                      <a:pt x="1880469" y="260831"/>
                    </a:cubicBezTo>
                    <a:cubicBezTo>
                      <a:pt x="1585660" y="247519"/>
                      <a:pt x="1283245" y="266577"/>
                      <a:pt x="989675" y="307538"/>
                    </a:cubicBezTo>
                    <a:lnTo>
                      <a:pt x="0" y="250419"/>
                    </a:lnTo>
                    <a:lnTo>
                      <a:pt x="4858" y="169923"/>
                    </a:lnTo>
                    <a:cubicBezTo>
                      <a:pt x="543116" y="59278"/>
                      <a:pt x="1231841" y="-26781"/>
                      <a:pt x="2002421" y="7710"/>
                    </a:cubicBezTo>
                    <a:close/>
                  </a:path>
                </a:pathLst>
              </a:custGeom>
              <a:solidFill>
                <a:srgbClr val="A7D05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60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6" name="Группа 45"/>
              <p:cNvGrpSpPr/>
              <p:nvPr/>
            </p:nvGrpSpPr>
            <p:grpSpPr>
              <a:xfrm>
                <a:off x="-8976" y="5750183"/>
                <a:ext cx="8991821" cy="1095217"/>
                <a:chOff x="-8976" y="5750183"/>
                <a:chExt cx="8991821" cy="1095217"/>
              </a:xfrm>
            </p:grpSpPr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 rot="21401812">
                  <a:off x="8766" y="5750183"/>
                  <a:ext cx="8974079" cy="9975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4079" h="997596">
                      <a:moveTo>
                        <a:pt x="8974079" y="256658"/>
                      </a:moveTo>
                      <a:lnTo>
                        <a:pt x="8969227" y="340728"/>
                      </a:lnTo>
                      <a:cubicBezTo>
                        <a:pt x="8564536" y="640458"/>
                        <a:pt x="7878802" y="997596"/>
                        <a:pt x="6912361" y="997596"/>
                      </a:cubicBezTo>
                      <a:cubicBezTo>
                        <a:pt x="5249207" y="997596"/>
                        <a:pt x="3171705" y="95150"/>
                        <a:pt x="1612138" y="95151"/>
                      </a:cubicBezTo>
                      <a:cubicBezTo>
                        <a:pt x="878567" y="95151"/>
                        <a:pt x="351898" y="189883"/>
                        <a:pt x="0" y="290901"/>
                      </a:cubicBezTo>
                      <a:lnTo>
                        <a:pt x="5097" y="206451"/>
                      </a:lnTo>
                      <a:cubicBezTo>
                        <a:pt x="356949" y="99692"/>
                        <a:pt x="882082" y="-1"/>
                        <a:pt x="1612138" y="0"/>
                      </a:cubicBezTo>
                      <a:cubicBezTo>
                        <a:pt x="3168828" y="0"/>
                        <a:pt x="5249207" y="961914"/>
                        <a:pt x="6912361" y="961913"/>
                      </a:cubicBezTo>
                      <a:cubicBezTo>
                        <a:pt x="7883088" y="961913"/>
                        <a:pt x="8570523" y="577496"/>
                        <a:pt x="8974079" y="256658"/>
                      </a:cubicBezTo>
                      <a:close/>
                    </a:path>
                  </a:pathLst>
                </a:custGeom>
                <a:solidFill>
                  <a:srgbClr val="CBDB2A"/>
                </a:solidFill>
                <a:ln w="12700">
                  <a:solidFill>
                    <a:srgbClr val="CBDB2A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8" name="Freeform 9"/>
                <p:cNvSpPr>
                  <a:spLocks/>
                </p:cNvSpPr>
                <p:nvPr/>
              </p:nvSpPr>
              <p:spPr bwMode="auto">
                <a:xfrm rot="21401812">
                  <a:off x="-8976" y="5845921"/>
                  <a:ext cx="8991280" cy="956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6656" h="956109">
                      <a:moveTo>
                        <a:pt x="8976656" y="245543"/>
                      </a:moveTo>
                      <a:lnTo>
                        <a:pt x="8968839" y="380995"/>
                      </a:lnTo>
                      <a:cubicBezTo>
                        <a:pt x="8560462" y="647681"/>
                        <a:pt x="7881915" y="956109"/>
                        <a:pt x="6935009" y="956109"/>
                      </a:cubicBezTo>
                      <a:cubicBezTo>
                        <a:pt x="5268979" y="956109"/>
                        <a:pt x="3185721" y="144234"/>
                        <a:pt x="1623278" y="144234"/>
                      </a:cubicBezTo>
                      <a:cubicBezTo>
                        <a:pt x="882318" y="144234"/>
                        <a:pt x="352320" y="230846"/>
                        <a:pt x="0" y="322515"/>
                      </a:cubicBezTo>
                      <a:lnTo>
                        <a:pt x="7638" y="195957"/>
                      </a:lnTo>
                      <a:cubicBezTo>
                        <a:pt x="359537" y="94859"/>
                        <a:pt x="886396" y="0"/>
                        <a:pt x="1620399" y="0"/>
                      </a:cubicBezTo>
                      <a:cubicBezTo>
                        <a:pt x="3177089" y="0"/>
                        <a:pt x="5257469" y="902579"/>
                        <a:pt x="6920623" y="902579"/>
                      </a:cubicBezTo>
                      <a:cubicBezTo>
                        <a:pt x="7886613" y="902579"/>
                        <a:pt x="8572070" y="545423"/>
                        <a:pt x="8976656" y="245543"/>
                      </a:cubicBezTo>
                      <a:close/>
                    </a:path>
                  </a:pathLst>
                </a:custGeom>
                <a:solidFill>
                  <a:srgbClr val="6D9D3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49" name="Freeform 10"/>
                <p:cNvSpPr>
                  <a:spLocks/>
                </p:cNvSpPr>
                <p:nvPr/>
              </p:nvSpPr>
              <p:spPr bwMode="auto">
                <a:xfrm rot="21401812">
                  <a:off x="5052" y="5990568"/>
                  <a:ext cx="8964051" cy="8548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5335" h="854832">
                      <a:moveTo>
                        <a:pt x="8975335" y="228107"/>
                      </a:moveTo>
                      <a:lnTo>
                        <a:pt x="8968669" y="343617"/>
                      </a:lnTo>
                      <a:cubicBezTo>
                        <a:pt x="8565323" y="579247"/>
                        <a:pt x="7907768" y="846431"/>
                        <a:pt x="6996356" y="854832"/>
                      </a:cubicBezTo>
                      <a:lnTo>
                        <a:pt x="6771421" y="842418"/>
                      </a:lnTo>
                      <a:lnTo>
                        <a:pt x="6160628" y="808709"/>
                      </a:lnTo>
                      <a:cubicBezTo>
                        <a:pt x="4658324" y="648621"/>
                        <a:pt x="2957691" y="118920"/>
                        <a:pt x="1633308" y="118921"/>
                      </a:cubicBezTo>
                      <a:cubicBezTo>
                        <a:pt x="885697" y="118921"/>
                        <a:pt x="352711" y="198599"/>
                        <a:pt x="0" y="282365"/>
                      </a:cubicBezTo>
                      <a:lnTo>
                        <a:pt x="6280" y="178326"/>
                      </a:lnTo>
                      <a:cubicBezTo>
                        <a:pt x="358237" y="86650"/>
                        <a:pt x="887657" y="1"/>
                        <a:pt x="1627553" y="0"/>
                      </a:cubicBezTo>
                      <a:cubicBezTo>
                        <a:pt x="3187184" y="1"/>
                        <a:pt x="5267650" y="811631"/>
                        <a:pt x="6930874" y="811631"/>
                      </a:cubicBezTo>
                      <a:cubicBezTo>
                        <a:pt x="7887631" y="811631"/>
                        <a:pt x="8569204" y="496328"/>
                        <a:pt x="8975335" y="228107"/>
                      </a:cubicBezTo>
                      <a:close/>
                    </a:path>
                  </a:pathLst>
                </a:custGeom>
                <a:solidFill>
                  <a:srgbClr val="8DC63F"/>
                </a:solidFill>
                <a:ln w="19050">
                  <a:solidFill>
                    <a:srgbClr val="8DC63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600">
                    <a:solidFill>
                      <a:srgbClr val="000000"/>
                    </a:solidFill>
                  </a:endParaRPr>
                </a:p>
              </p:txBody>
            </p:sp>
          </p:grpSp>
        </p:grpSp>
      </p:grpSp>
      <p:pic>
        <p:nvPicPr>
          <p:cNvPr id="50" name="Picture 2"/>
          <p:cNvPicPr>
            <a:picLocks noChangeAspect="1" noChangeArrowheads="1"/>
          </p:cNvPicPr>
          <p:nvPr userDrawn="1"/>
        </p:nvPicPr>
        <p:blipFill rotWithShape="1">
          <a:blip r:embed="rId5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8" b="4627"/>
          <a:stretch/>
        </p:blipFill>
        <p:spPr bwMode="auto">
          <a:xfrm>
            <a:off x="4341360" y="2442520"/>
            <a:ext cx="4802640" cy="2331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0680" y="2774644"/>
            <a:ext cx="5909557" cy="246221"/>
          </a:xfrm>
        </p:spPr>
        <p:txBody>
          <a:bodyPr wrap="square">
            <a:spAutoFit/>
          </a:bodyPr>
          <a:lstStyle>
            <a:lvl1pPr>
              <a:defRPr sz="16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761494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5" y="2830197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929"/>
            <a:ext cx="5293639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5.591\Деревце-с-облачками_don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" y="1226618"/>
            <a:ext cx="3523021" cy="2619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733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5" y="2830197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929"/>
            <a:ext cx="5293639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-238276" y="1093329"/>
            <a:ext cx="3672718" cy="3290948"/>
            <a:chOff x="-273711" y="1428309"/>
            <a:chExt cx="3682622" cy="4398665"/>
          </a:xfrm>
        </p:grpSpPr>
        <p:pic>
          <p:nvPicPr>
            <p:cNvPr id="8" name="Picture 2" descr="C:\Users\Lukanina-AN\AppData\Local\Microsoft\Windows\Temporary Internet Files\Low\Content.IE5\U9HPN9CK\WEareTEAM[1]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435296">
              <a:off x="1464937" y="1092742"/>
              <a:ext cx="1608407" cy="227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" descr="C:\Users\LUKANI~1\AppData\Local\Temp\Rar$DI00.669\ImLeader_don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7674329">
              <a:off x="82787" y="1695408"/>
              <a:ext cx="1266509" cy="19795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C:\Users\LUKANI~1\AppData\Local\Temp\Rar$DI03.218\все-для-клиента_don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353251">
              <a:off x="472355" y="2831967"/>
              <a:ext cx="2499145" cy="29950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92094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5" y="2830197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929"/>
            <a:ext cx="5293639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0.709\воздушны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699" y="1250605"/>
            <a:ext cx="3237987" cy="2817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0992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5" y="2830197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929"/>
            <a:ext cx="5293639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6" name="Picture 2" descr="C:\Users\LUKANI~1\AppData\Local\Temp\Rar$DI07.270\деревце-с-солнышком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6864" y="1084573"/>
            <a:ext cx="4147114" cy="328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7398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12935" y="2830197"/>
            <a:ext cx="5036084" cy="215444"/>
          </a:xfrm>
        </p:spPr>
        <p:txBody>
          <a:bodyPr>
            <a:spAutoFit/>
          </a:bodyPr>
          <a:lstStyle>
            <a:lvl1pPr>
              <a:defRPr sz="14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sp>
        <p:nvSpPr>
          <p:cNvPr id="6" name="Текст 6"/>
          <p:cNvSpPr>
            <a:spLocks noGrp="1"/>
          </p:cNvSpPr>
          <p:nvPr>
            <p:ph type="body" sz="quarter" idx="10"/>
          </p:nvPr>
        </p:nvSpPr>
        <p:spPr>
          <a:xfrm>
            <a:off x="3512935" y="1643929"/>
            <a:ext cx="5293639" cy="492443"/>
          </a:xfrm>
        </p:spPr>
        <p:txBody>
          <a:bodyPr/>
          <a:lstStyle>
            <a:lvl1pPr>
              <a:defRPr sz="3200" b="1">
                <a:solidFill>
                  <a:srgbClr val="049536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7" name="Picture 2" descr="C:\Users\LUKANI~1\AppData\Local\Temp\Rar$DI09.235\земной-шар_done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25" y="1549110"/>
            <a:ext cx="3327963" cy="2289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016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7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3.bin"/><Relationship Id="rId5" Type="http://schemas.openxmlformats.org/officeDocument/2006/relationships/tags" Target="../tags/tag12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ags" Target="../tags/tag1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8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7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55450996"/>
              </p:ext>
            </p:extLst>
          </p:nvPr>
        </p:nvGraphicFramePr>
        <p:xfrm>
          <a:off x="1591" y="164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4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0" y="4810601"/>
            <a:ext cx="9144000" cy="33453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519"/>
            <a:ext cx="7040076" cy="1024783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7067" y="1283752"/>
            <a:ext cx="8469002" cy="35268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marL="625475" lvl="3" indent="-95250" algn="l" defTabSz="4572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Screen Shot 2013-12-24 at 12.16.45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9424" y="241640"/>
            <a:ext cx="1739667" cy="558442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0" y="1058957"/>
            <a:ext cx="9144000" cy="0"/>
          </a:xfrm>
          <a:prstGeom prst="line">
            <a:avLst/>
          </a:prstGeom>
          <a:ln>
            <a:solidFill>
              <a:srgbClr val="C6DE2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847241" y="4845007"/>
            <a:ext cx="241953" cy="27472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20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200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026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17" r:id="rId3"/>
  </p:sldLayoutIdLst>
  <p:hf hdr="0" ftr="0" dt="0"/>
  <p:txStyles>
    <p:titleStyle>
      <a:lvl1pPr marL="0" indent="0" algn="l" defTabSz="457200" rtl="0" eaLnBrk="1" latinLnBrk="0" hangingPunct="1">
        <a:spcBef>
          <a:spcPct val="0"/>
        </a:spcBef>
        <a:buNone/>
        <a:defRPr sz="2100" b="1" kern="1200">
          <a:solidFill>
            <a:srgbClr val="0B592A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rgbClr val="464648"/>
          </a:solidFill>
          <a:latin typeface="+mj-lt"/>
          <a:ea typeface="+mn-ea"/>
          <a:cs typeface="+mn-cs"/>
        </a:defRPr>
      </a:lvl1pPr>
      <a:lvl2pPr marL="355600" indent="-174625" algn="l" defTabSz="457200" rtl="0" eaLnBrk="1" latinLnBrk="0" hangingPunct="1">
        <a:spcBef>
          <a:spcPct val="20000"/>
        </a:spcBef>
        <a:buFont typeface="Arial"/>
        <a:buChar char="–"/>
        <a:defRPr sz="1200" kern="1200">
          <a:solidFill>
            <a:srgbClr val="464648"/>
          </a:solidFill>
          <a:latin typeface="+mj-lt"/>
          <a:ea typeface="+mn-ea"/>
          <a:cs typeface="+mn-cs"/>
        </a:defRPr>
      </a:lvl2pPr>
      <a:lvl3pPr marL="450850" indent="-95250" algn="l" defTabSz="457200" rtl="0" eaLnBrk="1" latinLnBrk="0" hangingPunct="1">
        <a:spcBef>
          <a:spcPct val="20000"/>
        </a:spcBef>
        <a:buFont typeface="Wingdings" panose="05000000000000000000" pitchFamily="2" charset="2"/>
        <a:buChar char="§"/>
        <a:defRPr lang="en-US" sz="1200" kern="1200" dirty="0">
          <a:solidFill>
            <a:srgbClr val="464648"/>
          </a:solidFill>
          <a:latin typeface="+mj-lt"/>
          <a:ea typeface="+mn-ea"/>
          <a:cs typeface="+mn-cs"/>
        </a:defRPr>
      </a:lvl3pPr>
      <a:lvl4pPr marL="625475" indent="-174625" algn="l" defTabSz="457200" rtl="0" eaLnBrk="1" latinLnBrk="0" hangingPunct="1">
        <a:spcBef>
          <a:spcPct val="20000"/>
        </a:spcBef>
        <a:buFont typeface="Arial"/>
        <a:buChar char="–"/>
        <a:tabLst>
          <a:tab pos="538163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4pPr>
      <a:lvl5pPr marL="450850" indent="-95250" algn="l" defTabSz="457200" rtl="0" eaLnBrk="1" latinLnBrk="0" hangingPunct="1">
        <a:spcBef>
          <a:spcPct val="20000"/>
        </a:spcBef>
        <a:buFont typeface="Arial"/>
        <a:buChar char="•"/>
        <a:tabLst>
          <a:tab pos="538163" algn="l"/>
        </a:tabLst>
        <a:defRPr sz="1200" kern="1200">
          <a:solidFill>
            <a:srgbClr val="464648"/>
          </a:solidFill>
          <a:latin typeface="+mj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82157" y="149346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21521" y="299914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6" y="2065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575" y="645565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smtClean="0">
                <a:solidFill>
                  <a:srgbClr val="808080"/>
                </a:solidFill>
              </a:rPr>
              <a:t>Unit </a:t>
            </a:r>
            <a:r>
              <a:rPr lang="ru-RU" sz="1600" err="1" smtClean="0">
                <a:solidFill>
                  <a:srgbClr val="808080"/>
                </a:solidFill>
              </a:rPr>
              <a:t>of</a:t>
            </a:r>
            <a:r>
              <a:rPr lang="ru-RU" sz="1600" smtClean="0">
                <a:solidFill>
                  <a:srgbClr val="808080"/>
                </a:solidFill>
              </a:rPr>
              <a:t> </a:t>
            </a:r>
            <a:r>
              <a:rPr lang="ru-RU" sz="1600" err="1" smtClean="0">
                <a:solidFill>
                  <a:srgbClr val="808080"/>
                </a:solidFill>
              </a:rPr>
              <a:t>measure</a:t>
            </a:r>
            <a:endParaRPr lang="ru-RU" sz="1600" smtClean="0">
              <a:solidFill>
                <a:srgbClr val="808080"/>
              </a:solidFill>
            </a:endParaRP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82157" y="741264"/>
            <a:ext cx="4350892" cy="510376"/>
            <a:chOff x="915" y="610"/>
            <a:chExt cx="2686" cy="4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>
                  <a:solidFill>
                    <a:srgbClr val="808080"/>
                  </a:solidFill>
                </a:rPr>
                <a:t>Unit </a:t>
              </a:r>
              <a:r>
                <a:rPr lang="ru-RU" sz="1600" err="1">
                  <a:solidFill>
                    <a:srgbClr val="808080"/>
                  </a:solidFill>
                </a:rPr>
                <a:t>of</a:t>
              </a:r>
              <a:r>
                <a:rPr lang="ru-RU" sz="1600">
                  <a:solidFill>
                    <a:srgbClr val="808080"/>
                  </a:solidFill>
                </a:rPr>
                <a:t> </a:t>
              </a:r>
              <a:r>
                <a:rPr lang="ru-RU" sz="1600" err="1">
                  <a:solidFill>
                    <a:srgbClr val="808080"/>
                  </a:solidFill>
                </a:rPr>
                <a:t>measure</a:t>
              </a:r>
              <a:endParaRPr lang="ru-RU" sz="160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974" y="4987886"/>
            <a:ext cx="213009" cy="11665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3" y="127128"/>
            <a:ext cx="1985020" cy="478059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576" y="626596"/>
            <a:ext cx="8886445" cy="34997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60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39117870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2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7067" y="8482"/>
            <a:ext cx="8511008" cy="7128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1689" y="1054923"/>
            <a:ext cx="8469003" cy="3755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703759" y="4991450"/>
            <a:ext cx="385357" cy="12823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pPr defTabSz="457200"/>
            <a:fld id="{575FED36-2639-4BD6-A414-DA56354A75E3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 defTabSz="457200"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244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342900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5731" indent="-135731" algn="l" defTabSz="342900" rtl="0" eaLnBrk="1" latinLnBrk="0" hangingPunct="1">
        <a:spcBef>
          <a:spcPct val="20000"/>
        </a:spcBef>
        <a:buFont typeface="Arial"/>
        <a:buChar char="•"/>
        <a:defRPr sz="900" kern="1200">
          <a:solidFill>
            <a:srgbClr val="464648"/>
          </a:solidFill>
          <a:latin typeface="+mj-lt"/>
          <a:ea typeface="+mn-ea"/>
          <a:cs typeface="+mn-cs"/>
        </a:defRPr>
      </a:lvl1pPr>
      <a:lvl2pPr marL="266700" indent="-130969" algn="l" defTabSz="342900" rtl="0" eaLnBrk="1" latinLnBrk="0" hangingPunct="1">
        <a:spcBef>
          <a:spcPct val="20000"/>
        </a:spcBef>
        <a:buFont typeface="Arial"/>
        <a:buChar char="–"/>
        <a:defRPr sz="900" kern="1200">
          <a:solidFill>
            <a:srgbClr val="464648"/>
          </a:solidFill>
          <a:latin typeface="+mj-lt"/>
          <a:ea typeface="+mn-ea"/>
          <a:cs typeface="+mn-cs"/>
        </a:defRPr>
      </a:lvl2pPr>
      <a:lvl3pPr marL="338138" indent="-71438" algn="l" defTabSz="342900" rtl="0" eaLnBrk="1" latinLnBrk="0" hangingPunct="1">
        <a:spcBef>
          <a:spcPct val="20000"/>
        </a:spcBef>
        <a:buFont typeface="Arial"/>
        <a:buChar char="•"/>
        <a:defRPr sz="900" kern="1200">
          <a:solidFill>
            <a:srgbClr val="464648"/>
          </a:solidFill>
          <a:latin typeface="+mj-lt"/>
          <a:ea typeface="+mn-ea"/>
          <a:cs typeface="+mn-cs"/>
        </a:defRPr>
      </a:lvl3pPr>
      <a:lvl4pPr marL="469106" indent="-130969" algn="l" defTabSz="342900" rtl="0" eaLnBrk="1" latinLnBrk="0" hangingPunct="1">
        <a:spcBef>
          <a:spcPct val="20000"/>
        </a:spcBef>
        <a:buFont typeface="Arial"/>
        <a:buChar char="–"/>
        <a:tabLst>
          <a:tab pos="403622" algn="l"/>
        </a:tabLst>
        <a:defRPr sz="900" kern="1200">
          <a:solidFill>
            <a:srgbClr val="464648"/>
          </a:solidFill>
          <a:latin typeface="+mj-lt"/>
          <a:ea typeface="+mn-ea"/>
          <a:cs typeface="+mn-cs"/>
        </a:defRPr>
      </a:lvl4pPr>
      <a:lvl5pPr marL="469106" indent="-65485" algn="l" defTabSz="342900" rtl="0" eaLnBrk="1" latinLnBrk="0" hangingPunct="1">
        <a:spcBef>
          <a:spcPct val="20000"/>
        </a:spcBef>
        <a:buFont typeface="Arial"/>
        <a:buChar char="•"/>
        <a:tabLst>
          <a:tab pos="403622" algn="l"/>
        </a:tabLst>
        <a:defRPr sz="900" kern="1200">
          <a:solidFill>
            <a:srgbClr val="464648"/>
          </a:solidFill>
          <a:latin typeface="+mj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" name="Text 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82156" y="149346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21511" y="299916"/>
            <a:ext cx="69167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  <p:sp>
        <p:nvSpPr>
          <p:cNvPr id="10" name="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21488" y="2065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smtClean="0">
                <a:solidFill>
                  <a:srgbClr val="808080"/>
                </a:solidFill>
              </a:rPr>
              <a:t>TRACKER</a:t>
            </a:r>
            <a:endParaRPr lang="ru-RU" sz="1400">
              <a:solidFill>
                <a:srgbClr val="808080"/>
              </a:solidFill>
            </a:endParaRPr>
          </a:p>
        </p:txBody>
      </p:sp>
      <p:sp>
        <p:nvSpPr>
          <p:cNvPr id="11" name="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21510" y="645533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82156" y="741271"/>
            <a:ext cx="4350892" cy="510377"/>
            <a:chOff x="915" y="610"/>
            <a:chExt cx="2686" cy="4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smtClean="0">
                  <a:solidFill>
                    <a:srgbClr val="808080"/>
                  </a:solidFill>
                </a:rPr>
                <a:t>Unit of measure</a:t>
              </a:r>
              <a:endParaRPr lang="ru-RU" sz="160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8852909" y="4987886"/>
            <a:ext cx="213009" cy="11665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27" name="Picture 7" descr="Screen Shot 2013-12-24 at 12.16.45.png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4902" y="127085"/>
            <a:ext cx="1985020" cy="478058"/>
          </a:xfrm>
          <a:prstGeom prst="rect">
            <a:avLst/>
          </a:prstGeom>
        </p:spPr>
      </p:pic>
      <p:sp>
        <p:nvSpPr>
          <p:cNvPr id="13" name="Прямоугольник 18"/>
          <p:cNvSpPr/>
          <p:nvPr/>
        </p:nvSpPr>
        <p:spPr>
          <a:xfrm>
            <a:off x="121511" y="626596"/>
            <a:ext cx="8886445" cy="34997"/>
          </a:xfrm>
          <a:custGeom>
            <a:avLst/>
            <a:gdLst/>
            <a:ahLst/>
            <a:cxnLst/>
            <a:rect l="l" t="t" r="r" b="b"/>
            <a:pathLst>
              <a:path w="8728076" h="61913">
                <a:moveTo>
                  <a:pt x="0" y="0"/>
                </a:moveTo>
                <a:lnTo>
                  <a:pt x="8728076" y="0"/>
                </a:lnTo>
                <a:lnTo>
                  <a:pt x="8728076" y="1768"/>
                </a:lnTo>
                <a:lnTo>
                  <a:pt x="8661840" y="61913"/>
                </a:lnTo>
                <a:lnTo>
                  <a:pt x="0" y="61913"/>
                </a:lnTo>
                <a:close/>
              </a:path>
            </a:pathLst>
          </a:custGeom>
          <a:gradFill flip="none" rotWithShape="1">
            <a:gsLst>
              <a:gs pos="47000">
                <a:srgbClr val="BEDF92"/>
              </a:gs>
              <a:gs pos="0">
                <a:schemeClr val="accent2"/>
              </a:gs>
              <a:gs pos="100000">
                <a:srgbClr val="F6FFD9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err="1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837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364400" algn="l"/>
        </a:tabLst>
        <a:defRPr sz="1900" b="1">
          <a:solidFill>
            <a:srgbClr val="049536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8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9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0.emf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3.jpeg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2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2.emf"/><Relationship Id="rId11" Type="http://schemas.openxmlformats.org/officeDocument/2006/relationships/image" Target="../media/image50.jpe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9.jpeg"/><Relationship Id="rId4" Type="http://schemas.openxmlformats.org/officeDocument/2006/relationships/image" Target="../media/image45.jpeg"/><Relationship Id="rId9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2.JPG"/><Relationship Id="rId2" Type="http://schemas.openxmlformats.org/officeDocument/2006/relationships/tags" Target="../tags/tag3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1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53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4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5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7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6.jpeg"/><Relationship Id="rId11" Type="http://schemas.openxmlformats.org/officeDocument/2006/relationships/image" Target="../media/image61.jpeg"/><Relationship Id="rId5" Type="http://schemas.openxmlformats.org/officeDocument/2006/relationships/image" Target="../media/image22.emf"/><Relationship Id="rId10" Type="http://schemas.openxmlformats.org/officeDocument/2006/relationships/image" Target="../media/image60.jpe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5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6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2.jpeg"/><Relationship Id="rId5" Type="http://schemas.openxmlformats.org/officeDocument/2006/relationships/image" Target="../media/image22.emf"/><Relationship Id="rId10" Type="http://schemas.openxmlformats.org/officeDocument/2006/relationships/image" Target="../media/image65.jpe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67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6.jpeg"/><Relationship Id="rId5" Type="http://schemas.openxmlformats.org/officeDocument/2006/relationships/image" Target="../media/image22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6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2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gif"/><Relationship Id="rId5" Type="http://schemas.microsoft.com/office/2007/relationships/hdphoto" Target="../media/hdphoto1.wdp"/><Relationship Id="rId10" Type="http://schemas.openxmlformats.org/officeDocument/2006/relationships/image" Target="../media/image22.emf"/><Relationship Id="rId4" Type="http://schemas.openxmlformats.org/officeDocument/2006/relationships/image" Target="../media/image23.jpeg"/><Relationship Id="rId9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5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4.gif"/><Relationship Id="rId11" Type="http://schemas.openxmlformats.org/officeDocument/2006/relationships/image" Target="../media/image27.png"/><Relationship Id="rId5" Type="http://schemas.microsoft.com/office/2007/relationships/hdphoto" Target="../media/hdphoto1.wdp"/><Relationship Id="rId10" Type="http://schemas.openxmlformats.org/officeDocument/2006/relationships/image" Target="../media/image22.emf"/><Relationship Id="rId4" Type="http://schemas.openxmlformats.org/officeDocument/2006/relationships/image" Target="../media/image23.jpeg"/><Relationship Id="rId9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9.gif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1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0.jp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2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5.jpe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2123728" y="1348408"/>
            <a:ext cx="3672408" cy="1656184"/>
          </a:xfrm>
        </p:spPr>
        <p:txBody>
          <a:bodyPr>
            <a:noAutofit/>
          </a:bodyPr>
          <a:lstStyle/>
          <a:p>
            <a:pPr lvl="0">
              <a:lnSpc>
                <a:spcPct val="80000"/>
              </a:lnSpc>
              <a:spcBef>
                <a:spcPts val="0"/>
              </a:spcBef>
            </a:pPr>
            <a:r>
              <a:rPr lang="ru-RU" sz="2800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ru-RU" sz="2800" dirty="0" smtClean="0">
                <a:solidFill>
                  <a:schemeClr val="accent1"/>
                </a:solidFill>
                <a:latin typeface="+mn-lt"/>
              </a:rPr>
            </a:br>
            <a:r>
              <a:rPr lang="ru-RU" sz="2000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ru-RU" sz="2000" dirty="0" smtClean="0">
                <a:solidFill>
                  <a:schemeClr val="accent1"/>
                </a:solidFill>
                <a:latin typeface="+mn-lt"/>
              </a:rPr>
            </a:br>
            <a:r>
              <a:rPr lang="ru-RU" sz="3600" dirty="0" smtClean="0">
                <a:solidFill>
                  <a:schemeClr val="accent1"/>
                </a:solidFill>
                <a:latin typeface="+mn-lt"/>
              </a:rPr>
              <a:t>Безналичный Транспорт</a:t>
            </a:r>
            <a:r>
              <a:rPr lang="ru-RU" sz="2400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ru-RU" sz="2400" dirty="0" smtClean="0">
                <a:solidFill>
                  <a:schemeClr val="accent1"/>
                </a:solidFill>
                <a:latin typeface="+mn-lt"/>
              </a:rPr>
            </a:br>
            <a:r>
              <a:rPr lang="ru-RU" sz="1200" dirty="0" smtClean="0">
                <a:solidFill>
                  <a:schemeClr val="accent1"/>
                </a:solidFill>
                <a:latin typeface="+mn-lt"/>
              </a:rPr>
              <a:t/>
            </a:r>
            <a:br>
              <a:rPr lang="ru-RU" sz="1200" dirty="0" smtClean="0">
                <a:solidFill>
                  <a:schemeClr val="accent1"/>
                </a:solidFill>
                <a:latin typeface="+mn-lt"/>
              </a:rPr>
            </a:br>
            <a:endParaRPr lang="ru-RU" sz="20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051720" y="2684619"/>
            <a:ext cx="33843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tx2"/>
                </a:solidFill>
              </a:rPr>
              <a:t>Платежные сервисы Сбербанка для общественного транспорта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868144" y="3724672"/>
            <a:ext cx="316835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3"/>
                </a:solidFill>
              </a:rPr>
              <a:t>Заместитель председателя – </a:t>
            </a:r>
            <a:r>
              <a:rPr lang="ru-RU" sz="1400" dirty="0" smtClean="0">
                <a:solidFill>
                  <a:schemeClr val="accent3"/>
                </a:solidFill>
              </a:rPr>
              <a:t>Управляющий </a:t>
            </a:r>
            <a:r>
              <a:rPr lang="ru-RU" sz="1400" dirty="0" smtClean="0">
                <a:solidFill>
                  <a:schemeClr val="accent3"/>
                </a:solidFill>
              </a:rPr>
              <a:t>Новосибирского ГОСБ №8047 </a:t>
            </a:r>
            <a:endParaRPr lang="ru-RU" sz="1400" dirty="0" smtClean="0">
              <a:solidFill>
                <a:schemeClr val="accent3"/>
              </a:solidFill>
            </a:endParaRPr>
          </a:p>
          <a:p>
            <a:r>
              <a:rPr lang="ru-RU" sz="1400" dirty="0" smtClean="0">
                <a:solidFill>
                  <a:schemeClr val="accent3"/>
                </a:solidFill>
              </a:rPr>
              <a:t>Игорь Безматерных</a:t>
            </a:r>
            <a:endParaRPr lang="ru-RU" sz="1400" dirty="0" smtClean="0">
              <a:solidFill>
                <a:schemeClr val="accent3"/>
              </a:solidFill>
            </a:endParaRPr>
          </a:p>
          <a:p>
            <a:r>
              <a:rPr lang="ru-RU" sz="1400" dirty="0" smtClean="0">
                <a:solidFill>
                  <a:schemeClr val="accent3"/>
                </a:solidFill>
              </a:rPr>
              <a:t>март 2017</a:t>
            </a:r>
            <a:endParaRPr lang="ru-RU" sz="14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96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1492736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35"/>
          <p:cNvSpPr txBox="1"/>
          <p:nvPr/>
        </p:nvSpPr>
        <p:spPr>
          <a:xfrm>
            <a:off x="179512" y="1276400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Эмиссия банковских карт</a:t>
            </a:r>
          </a:p>
        </p:txBody>
      </p:sp>
      <p:sp>
        <p:nvSpPr>
          <p:cNvPr id="9" name="TextBox 35"/>
          <p:cNvSpPr txBox="1"/>
          <p:nvPr/>
        </p:nvSpPr>
        <p:spPr>
          <a:xfrm>
            <a:off x="539552" y="2070229"/>
            <a:ext cx="3816424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600" dirty="0" smtClean="0"/>
              <a:t>Нет издержек на эмиссию транспортных карт </a:t>
            </a:r>
            <a:r>
              <a:rPr lang="en-US" sz="1600" dirty="0" smtClean="0"/>
              <a:t>–</a:t>
            </a:r>
            <a:r>
              <a:rPr lang="ru-RU" sz="1600" dirty="0" smtClean="0"/>
              <a:t> за проезд можно заплатить картой любого банка</a:t>
            </a:r>
          </a:p>
          <a:p>
            <a:pPr>
              <a:spcAft>
                <a:spcPts val="600"/>
              </a:spcAft>
            </a:pPr>
            <a:endParaRPr lang="ru-RU" sz="1600" dirty="0"/>
          </a:p>
          <a:p>
            <a:pPr>
              <a:spcAft>
                <a:spcPts val="600"/>
              </a:spcAft>
            </a:pPr>
            <a:r>
              <a:rPr lang="ru-RU" sz="1600" dirty="0" smtClean="0"/>
              <a:t>В России выпущено уже более 250 млн банковских карт</a:t>
            </a:r>
          </a:p>
        </p:txBody>
      </p:sp>
      <p:pic>
        <p:nvPicPr>
          <p:cNvPr id="3" name="Picture 2" descr="81102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8875" y="1852464"/>
            <a:ext cx="4137581" cy="2360706"/>
          </a:xfrm>
          <a:prstGeom prst="rect">
            <a:avLst/>
          </a:prstGeom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57967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Банковская карта </a:t>
            </a:r>
            <a:br>
              <a:rPr lang="ru-RU" dirty="0" smtClean="0">
                <a:solidFill>
                  <a:schemeClr val="accent1"/>
                </a:solidFill>
                <a:latin typeface="+mn-lt"/>
              </a:rPr>
            </a:br>
            <a:r>
              <a:rPr lang="ru-RU" dirty="0" smtClean="0">
                <a:solidFill>
                  <a:schemeClr val="accent1"/>
                </a:solidFill>
                <a:latin typeface="+mn-lt"/>
              </a:rPr>
              <a:t>для оплаты проезда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2339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4942036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35"/>
          <p:cNvSpPr txBox="1"/>
          <p:nvPr/>
        </p:nvSpPr>
        <p:spPr>
          <a:xfrm>
            <a:off x="179512" y="1276400"/>
            <a:ext cx="23762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Пополнение банковских карт</a:t>
            </a:r>
          </a:p>
        </p:txBody>
      </p:sp>
      <p:sp>
        <p:nvSpPr>
          <p:cNvPr id="9" name="TextBox 35"/>
          <p:cNvSpPr txBox="1"/>
          <p:nvPr/>
        </p:nvSpPr>
        <p:spPr>
          <a:xfrm>
            <a:off x="539552" y="2070229"/>
            <a:ext cx="3816424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Не нужно строить инфраструктуру пополнения </a:t>
            </a:r>
            <a:r>
              <a:rPr lang="en-US" sz="1600" dirty="0" smtClean="0"/>
              <a:t>–</a:t>
            </a:r>
            <a:r>
              <a:rPr lang="ru-RU" sz="1600" dirty="0" smtClean="0"/>
              <a:t> она уже построена банками-эмитентами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Проезд можно оплачивать личными дебетовыми, кредитными, зарплатными, социальными и корпоративными картами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57967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Банковская карта </a:t>
            </a:r>
            <a:br>
              <a:rPr lang="ru-RU" dirty="0" smtClean="0">
                <a:solidFill>
                  <a:schemeClr val="accent1"/>
                </a:solidFill>
                <a:latin typeface="+mn-lt"/>
              </a:rPr>
            </a:br>
            <a:r>
              <a:rPr lang="ru-RU" dirty="0" smtClean="0">
                <a:solidFill>
                  <a:schemeClr val="accent1"/>
                </a:solidFill>
                <a:latin typeface="+mn-lt"/>
              </a:rPr>
              <a:t>для оплаты проезда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10" name="Picture 9" descr="banking-image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2040" y="1852464"/>
            <a:ext cx="3528392" cy="235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30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804828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35"/>
          <p:cNvSpPr txBox="1"/>
          <p:nvPr/>
        </p:nvSpPr>
        <p:spPr>
          <a:xfrm>
            <a:off x="196809" y="1204392"/>
            <a:ext cx="24482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b="1" smtClean="0">
                <a:solidFill>
                  <a:schemeClr val="accent5"/>
                </a:solidFill>
              </a:rPr>
              <a:t>Билет на одну поездку</a:t>
            </a:r>
            <a:endParaRPr lang="ru-RU" b="1" dirty="0" smtClean="0">
              <a:solidFill>
                <a:schemeClr val="accent5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23728" y="1601230"/>
            <a:ext cx="2088232" cy="1944216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35"/>
          <p:cNvSpPr txBox="1"/>
          <p:nvPr/>
        </p:nvSpPr>
        <p:spPr>
          <a:xfrm>
            <a:off x="5032152" y="1996480"/>
            <a:ext cx="3428280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Для регулярных пассажиров, желающих получать скидки за многоразовое пользование транспортом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Проездной размещается в виде идентификатора на обычной банковской карте – без приобретения дополнительного носителя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Социальные проездные билеты с возможностью учета поездок</a:t>
            </a:r>
          </a:p>
        </p:txBody>
      </p:sp>
      <p:cxnSp>
        <p:nvCxnSpPr>
          <p:cNvPr id="14" name="Прямая соединительная линия 13"/>
          <p:cNvCxnSpPr>
            <a:stCxn id="6" idx="0"/>
          </p:cNvCxnSpPr>
          <p:nvPr/>
        </p:nvCxnSpPr>
        <p:spPr>
          <a:xfrm flipH="1" flipV="1">
            <a:off x="3166177" y="1060376"/>
            <a:ext cx="1667" cy="54085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 flipV="1">
            <a:off x="3167845" y="3547148"/>
            <a:ext cx="1666" cy="14736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Box 35"/>
          <p:cNvSpPr txBox="1"/>
          <p:nvPr/>
        </p:nvSpPr>
        <p:spPr>
          <a:xfrm>
            <a:off x="156166" y="1996480"/>
            <a:ext cx="196756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Не требуется предварительная покупка билета или пополнение карт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Оптимальное решение для </a:t>
            </a:r>
            <a:r>
              <a:rPr lang="ru-RU" sz="1400" dirty="0"/>
              <a:t>нерегулярных пассажиров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400" dirty="0" smtClean="0"/>
          </a:p>
        </p:txBody>
      </p:sp>
      <p:sp>
        <p:nvSpPr>
          <p:cNvPr id="22" name="TextBox 35"/>
          <p:cNvSpPr txBox="1"/>
          <p:nvPr/>
        </p:nvSpPr>
        <p:spPr>
          <a:xfrm>
            <a:off x="5032153" y="1204392"/>
            <a:ext cx="24482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b="1" smtClean="0">
                <a:solidFill>
                  <a:srgbClr val="FF6600"/>
                </a:solidFill>
              </a:rPr>
              <a:t>Длинные проездные билеты</a:t>
            </a:r>
            <a:endParaRPr lang="ru-RU" b="1" dirty="0" smtClean="0">
              <a:solidFill>
                <a:srgbClr val="FF6600"/>
              </a:solidFill>
            </a:endParaRPr>
          </a:p>
        </p:txBody>
      </p:sp>
      <p:pic>
        <p:nvPicPr>
          <p:cNvPr id="24" name="Изображение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62920" y="1252921"/>
            <a:ext cx="469232" cy="469232"/>
          </a:xfrm>
          <a:prstGeom prst="rect">
            <a:avLst/>
          </a:prstGeom>
        </p:spPr>
      </p:pic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57967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Банковская карта </a:t>
            </a:r>
            <a:br>
              <a:rPr lang="ru-RU" dirty="0" smtClean="0">
                <a:solidFill>
                  <a:schemeClr val="accent1"/>
                </a:solidFill>
                <a:latin typeface="+mn-lt"/>
              </a:rPr>
            </a:br>
            <a:r>
              <a:rPr lang="ru-RU" dirty="0" smtClean="0">
                <a:solidFill>
                  <a:schemeClr val="accent1"/>
                </a:solidFill>
                <a:latin typeface="+mn-lt"/>
              </a:rPr>
              <a:t>для оплаты проезда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27" name="Picture 2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194" y="2201905"/>
            <a:ext cx="1153966" cy="742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465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5565336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665388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smtClean="0">
                <a:solidFill>
                  <a:schemeClr val="accent1"/>
                </a:solidFill>
              </a:rPr>
              <a:t>Другие инструменты платежа</a:t>
            </a:r>
            <a:endParaRPr lang="ru-RU">
              <a:solidFill>
                <a:schemeClr val="accent1"/>
              </a:solidFill>
            </a:endParaRPr>
          </a:p>
        </p:txBody>
      </p:sp>
      <p:sp>
        <p:nvSpPr>
          <p:cNvPr id="14" name="Rectangle 1"/>
          <p:cNvSpPr/>
          <p:nvPr/>
        </p:nvSpPr>
        <p:spPr>
          <a:xfrm>
            <a:off x="179512" y="1313275"/>
            <a:ext cx="17281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smtClean="0">
                <a:solidFill>
                  <a:schemeClr val="accent5"/>
                </a:solidFill>
              </a:rPr>
              <a:t>Не только карты</a:t>
            </a:r>
            <a:endParaRPr lang="ru-RU" b="1" dirty="0">
              <a:solidFill>
                <a:schemeClr val="accent5"/>
              </a:solidFill>
            </a:endParaRPr>
          </a:p>
        </p:txBody>
      </p:sp>
      <p:pic>
        <p:nvPicPr>
          <p:cNvPr id="23" name="Picture 2" descr="image008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98" t="5480" r="5880" b="7452"/>
          <a:stretch/>
        </p:blipFill>
        <p:spPr bwMode="auto">
          <a:xfrm>
            <a:off x="6660232" y="2569305"/>
            <a:ext cx="1852129" cy="1687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79" name="Picture 19" descr="http://www.tavrich.ru/upload/iblock/d13/d13c8d869b9516f7e4f3112a2523053c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81"/>
          <a:stretch/>
        </p:blipFill>
        <p:spPr bwMode="auto">
          <a:xfrm>
            <a:off x="600214" y="2558909"/>
            <a:ext cx="1678875" cy="148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2476366"/>
            <a:ext cx="2376264" cy="1586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35"/>
          <p:cNvSpPr txBox="1"/>
          <p:nvPr/>
        </p:nvSpPr>
        <p:spPr>
          <a:xfrm>
            <a:off x="899592" y="2137812"/>
            <a:ext cx="10801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Часы</a:t>
            </a:r>
          </a:p>
        </p:txBody>
      </p:sp>
      <p:sp>
        <p:nvSpPr>
          <p:cNvPr id="28" name="TextBox 35"/>
          <p:cNvSpPr txBox="1"/>
          <p:nvPr/>
        </p:nvSpPr>
        <p:spPr>
          <a:xfrm>
            <a:off x="3748626" y="2141123"/>
            <a:ext cx="1478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smtClean="0"/>
              <a:t>Браслеты</a:t>
            </a:r>
            <a:endParaRPr lang="ru-RU" sz="1600" dirty="0" smtClean="0"/>
          </a:p>
        </p:txBody>
      </p:sp>
      <p:sp>
        <p:nvSpPr>
          <p:cNvPr id="29" name="TextBox 35"/>
          <p:cNvSpPr txBox="1"/>
          <p:nvPr/>
        </p:nvSpPr>
        <p:spPr>
          <a:xfrm>
            <a:off x="6660232" y="2230751"/>
            <a:ext cx="1478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smtClean="0"/>
              <a:t>Брелоки</a:t>
            </a:r>
            <a:endParaRPr lang="ru-RU" sz="1600" dirty="0" smtClean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2771800" y="2532554"/>
            <a:ext cx="1666" cy="14736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 flipV="1">
            <a:off x="6156176" y="2479677"/>
            <a:ext cx="1666" cy="14736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017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6" name="Picture 8" descr="https://cnet4.cbsistatic.com/hub/i/r/2015/03/03/c8f73789-729f-4ac3-a784-9de579164f22/thumbnail/670x503/154c1e207a66805af21737a44f3bf897/samsung-pay-0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722" y="3271170"/>
            <a:ext cx="1560005" cy="1171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427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"/>
          <p:cNvSpPr/>
          <p:nvPr/>
        </p:nvSpPr>
        <p:spPr>
          <a:xfrm>
            <a:off x="179512" y="1132384"/>
            <a:ext cx="30963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smtClean="0">
                <a:solidFill>
                  <a:schemeClr val="accent5"/>
                </a:solidFill>
              </a:rPr>
              <a:t>NFC-</a:t>
            </a:r>
            <a:r>
              <a:rPr lang="ru-RU" b="1" smtClean="0">
                <a:solidFill>
                  <a:schemeClr val="accent5"/>
                </a:solidFill>
              </a:rPr>
              <a:t>платежи мобильными телефонами</a:t>
            </a:r>
            <a:endParaRPr lang="ru-RU" b="1" dirty="0">
              <a:solidFill>
                <a:schemeClr val="accent5"/>
              </a:solidFill>
            </a:endParaRPr>
          </a:p>
        </p:txBody>
      </p:sp>
      <p:pic>
        <p:nvPicPr>
          <p:cNvPr id="78850" name="Picture 2" descr="https://upload.wikimedia.org/wikipedia/commons/thumb/b/b0/Apple_Pay_logo.svg/1280px-Apple_Pay_logo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02" y="2234191"/>
            <a:ext cx="1595817" cy="767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http://areyouanandroid.com/wp-content/uploads/2016/06/android-pay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31" t="6050" r="31350" b="6503"/>
          <a:stretch/>
        </p:blipFill>
        <p:spPr bwMode="auto">
          <a:xfrm>
            <a:off x="6732240" y="1780456"/>
            <a:ext cx="1113259" cy="1483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4" name="Picture 6" descr="https://lh3.googleusercontent.com/stzffoc74M-O_X-otr0CHAsCflQ_YXTeN7dy1WM54cYSU8Z6zTRWcgsu4YKKidtYJA=w3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1959268"/>
            <a:ext cx="1125611" cy="1125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8" name="Picture 10" descr="https://si.wsj.net/public/resources/images/BN-FG039_1028PT_P_20141028104614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8"/>
          <a:stretch/>
        </p:blipFill>
        <p:spPr bwMode="auto">
          <a:xfrm>
            <a:off x="708679" y="3271170"/>
            <a:ext cx="1593440" cy="117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60" name="Picture 12" descr="http://cdn.paymentssource.com/media/gallery/p19mg9qlfs1d3l1oh21a21k14te16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41"/>
          <a:stretch/>
        </p:blipFill>
        <p:spPr bwMode="auto">
          <a:xfrm>
            <a:off x="6444208" y="3271169"/>
            <a:ext cx="1553653" cy="1170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665388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smtClean="0">
                <a:solidFill>
                  <a:schemeClr val="accent1"/>
                </a:solidFill>
              </a:rPr>
              <a:t>Другие инструменты платежа</a:t>
            </a:r>
            <a:endParaRPr lang="ru-RU">
              <a:solidFill>
                <a:schemeClr val="accent1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3059832" y="2522073"/>
            <a:ext cx="1666" cy="14736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 flipV="1">
            <a:off x="5868144" y="2519805"/>
            <a:ext cx="1666" cy="1473668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393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8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154143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4320480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Онлайн-сервисы для пассажира и перевозчика</a:t>
            </a:r>
            <a:endParaRPr lang="ru-RU" dirty="0">
              <a:solidFill>
                <a:schemeClr val="accent1"/>
              </a:solidFill>
            </a:endParaRPr>
          </a:p>
        </p:txBody>
      </p:sp>
      <p:grpSp>
        <p:nvGrpSpPr>
          <p:cNvPr id="4" name="Группа 2"/>
          <p:cNvGrpSpPr/>
          <p:nvPr/>
        </p:nvGrpSpPr>
        <p:grpSpPr>
          <a:xfrm>
            <a:off x="251520" y="1276400"/>
            <a:ext cx="4104456" cy="3702061"/>
            <a:chOff x="2326786" y="1653025"/>
            <a:chExt cx="4693485" cy="4176464"/>
          </a:xfrm>
        </p:grpSpPr>
        <p:pic>
          <p:nvPicPr>
            <p:cNvPr id="5" name="Picture 2" descr="C:\Users\kochelev.na\Desktop\screen_1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2326786" y="1653025"/>
              <a:ext cx="4693485" cy="4176464"/>
            </a:xfrm>
            <a:prstGeom prst="rect">
              <a:avLst/>
            </a:prstGeom>
            <a:noFill/>
          </p:spPr>
        </p:pic>
        <p:sp>
          <p:nvSpPr>
            <p:cNvPr id="6" name="Прямоугольник 4"/>
            <p:cNvSpPr/>
            <p:nvPr/>
          </p:nvSpPr>
          <p:spPr>
            <a:xfrm>
              <a:off x="2483768" y="1844824"/>
              <a:ext cx="4364118" cy="2767843"/>
            </a:xfrm>
            <a:prstGeom prst="rect">
              <a:avLst/>
            </a:prstGeom>
            <a:solidFill>
              <a:srgbClr val="FDFDF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TextBox 35"/>
          <p:cNvSpPr txBox="1"/>
          <p:nvPr/>
        </p:nvSpPr>
        <p:spPr>
          <a:xfrm>
            <a:off x="4716016" y="2356227"/>
            <a:ext cx="4320480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История поездок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Покупка проездных билетов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Вывод карт из стоп-листа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Ответы на вопросы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Обратная связь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endParaRPr lang="ru-RU" sz="1600" dirty="0" smtClean="0"/>
          </a:p>
        </p:txBody>
      </p:sp>
      <p:sp>
        <p:nvSpPr>
          <p:cNvPr id="2" name="Rectangle 1"/>
          <p:cNvSpPr/>
          <p:nvPr/>
        </p:nvSpPr>
        <p:spPr>
          <a:xfrm>
            <a:off x="4716016" y="1564432"/>
            <a:ext cx="33123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Личный кабинет пассажира</a:t>
            </a:r>
            <a:endParaRPr lang="ru-RU" b="1" dirty="0">
              <a:solidFill>
                <a:schemeClr val="accent5"/>
              </a:solidFill>
            </a:endParaRPr>
          </a:p>
        </p:txBody>
      </p:sp>
      <p:pic>
        <p:nvPicPr>
          <p:cNvPr id="3" name="Picture 2" descr="Неоплаченные поездки.JP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78"/>
          <a:stretch/>
        </p:blipFill>
        <p:spPr>
          <a:xfrm>
            <a:off x="395536" y="1492424"/>
            <a:ext cx="3754556" cy="2272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248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659956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456384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Личный кабинет пассажира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5496" y="1204392"/>
            <a:ext cx="17281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Пример функционала</a:t>
            </a:r>
            <a:endParaRPr lang="ru-RU" b="1" dirty="0">
              <a:solidFill>
                <a:schemeClr val="accent5"/>
              </a:solidFill>
            </a:endParaRPr>
          </a:p>
        </p:txBody>
      </p:sp>
      <p:sp>
        <p:nvSpPr>
          <p:cNvPr id="6" name="TextBox 35"/>
          <p:cNvSpPr txBox="1"/>
          <p:nvPr/>
        </p:nvSpPr>
        <p:spPr>
          <a:xfrm>
            <a:off x="179512" y="1967312"/>
            <a:ext cx="24482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Страница на сайте перевозчика</a:t>
            </a:r>
          </a:p>
        </p:txBody>
      </p:sp>
      <p:sp>
        <p:nvSpPr>
          <p:cNvPr id="9" name="TextBox 35"/>
          <p:cNvSpPr txBox="1"/>
          <p:nvPr/>
        </p:nvSpPr>
        <p:spPr>
          <a:xfrm>
            <a:off x="298831" y="4239761"/>
            <a:ext cx="1248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200" i="1" smtClean="0"/>
              <a:t>Avtobus.spb.ru</a:t>
            </a:r>
            <a:endParaRPr lang="en-US" sz="1200" i="1" dirty="0" smtClean="0"/>
          </a:p>
        </p:txBody>
      </p:sp>
      <p:pic>
        <p:nvPicPr>
          <p:cNvPr id="11" name="Picture 2" descr="C:\Users\Makarow-AA\Documents\02. ТСП\01. Транспорт\02. Наземный транспорт\03. Санкт-Петербург\Второй этап пилота\Mastercard_PAT_Web-page_4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894"/>
          <a:stretch/>
        </p:blipFill>
        <p:spPr bwMode="auto">
          <a:xfrm>
            <a:off x="4211960" y="1204392"/>
            <a:ext cx="3960440" cy="3813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8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390100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0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5496" y="1204392"/>
            <a:ext cx="17281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Пример функционала</a:t>
            </a:r>
            <a:endParaRPr lang="ru-RU" b="1" dirty="0">
              <a:solidFill>
                <a:schemeClr val="accent5"/>
              </a:solidFill>
            </a:endParaRPr>
          </a:p>
        </p:txBody>
      </p:sp>
      <p:pic>
        <p:nvPicPr>
          <p:cNvPr id="3" name="Picture 2" descr="Снимок экрана 2016-09-14 в 19.42.48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132384"/>
            <a:ext cx="7020272" cy="387108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454791" y="2769480"/>
            <a:ext cx="1872208" cy="1440160"/>
          </a:xfrm>
          <a:prstGeom prst="rect">
            <a:avLst/>
          </a:prstGeom>
          <a:noFill/>
          <a:ln w="57150" cmpd="sng">
            <a:solidFill>
              <a:srgbClr val="FF66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35"/>
          <p:cNvSpPr txBox="1"/>
          <p:nvPr/>
        </p:nvSpPr>
        <p:spPr>
          <a:xfrm>
            <a:off x="179512" y="1967312"/>
            <a:ext cx="1728192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История поездок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Печать билета</a:t>
            </a:r>
          </a:p>
        </p:txBody>
      </p:sp>
      <p:sp>
        <p:nvSpPr>
          <p:cNvPr id="11" name="TextBox 35"/>
          <p:cNvSpPr txBox="1"/>
          <p:nvPr/>
        </p:nvSpPr>
        <p:spPr>
          <a:xfrm>
            <a:off x="298831" y="4239761"/>
            <a:ext cx="1248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200" i="1" dirty="0" smtClean="0"/>
              <a:t>kazanmetro.ru</a:t>
            </a:r>
            <a:endParaRPr lang="ru-RU" sz="1200" i="1" dirty="0" smtClean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456384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Личный кабинет пассажира</a:t>
            </a: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883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0753190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79512" y="35593"/>
            <a:ext cx="2520280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Консоль перевозчика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5496" y="1204392"/>
            <a:ext cx="17281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accent5"/>
                </a:solidFill>
              </a:rPr>
              <a:t>Пример функционала</a:t>
            </a:r>
            <a:endParaRPr lang="ru-RU" b="1" dirty="0">
              <a:solidFill>
                <a:schemeClr val="accent5"/>
              </a:solidFill>
            </a:endParaRPr>
          </a:p>
        </p:txBody>
      </p:sp>
      <p:sp>
        <p:nvSpPr>
          <p:cNvPr id="13" name="TextBox 35"/>
          <p:cNvSpPr txBox="1"/>
          <p:nvPr/>
        </p:nvSpPr>
        <p:spPr>
          <a:xfrm>
            <a:off x="107504" y="1967312"/>
            <a:ext cx="2376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ru-RU" sz="1600" dirty="0" smtClean="0"/>
              <a:t>Мониторинг работоспособности терминалов</a:t>
            </a:r>
          </a:p>
        </p:txBody>
      </p:sp>
      <p:pic>
        <p:nvPicPr>
          <p:cNvPr id="7" name="Picture 6" descr="Снимок экрана 2016-09-15 в 12.56.2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1136691"/>
            <a:ext cx="6569638" cy="3789971"/>
          </a:xfrm>
          <a:prstGeom prst="rect">
            <a:avLst/>
          </a:prstGeom>
        </p:spPr>
      </p:pic>
      <p:sp>
        <p:nvSpPr>
          <p:cNvPr id="15" name="TextBox 35"/>
          <p:cNvSpPr txBox="1"/>
          <p:nvPr/>
        </p:nvSpPr>
        <p:spPr>
          <a:xfrm>
            <a:off x="298831" y="4239761"/>
            <a:ext cx="15368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200" i="1" dirty="0" smtClean="0"/>
              <a:t>Новосибирский метрополитен</a:t>
            </a:r>
            <a:endParaRPr lang="en-US" sz="1200" i="1" dirty="0" smtClean="0"/>
          </a:p>
        </p:txBody>
      </p:sp>
    </p:spTree>
    <p:extLst>
      <p:ext uri="{BB962C8B-B14F-4D97-AF65-F5344CB8AC3E}">
        <p14:creationId xmlns:p14="http://schemas.microsoft.com/office/powerpoint/2010/main" val="1643012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690594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9965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Проекты Сбербанка в общественном транспорте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7" name="TextBox 35"/>
          <p:cNvSpPr txBox="1"/>
          <p:nvPr/>
        </p:nvSpPr>
        <p:spPr>
          <a:xfrm>
            <a:off x="539552" y="1276400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Московский метрополитен</a:t>
            </a:r>
          </a:p>
        </p:txBody>
      </p:sp>
      <p:sp>
        <p:nvSpPr>
          <p:cNvPr id="18" name="TextBox 35"/>
          <p:cNvSpPr txBox="1"/>
          <p:nvPr/>
        </p:nvSpPr>
        <p:spPr>
          <a:xfrm>
            <a:off x="3635896" y="1276400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Новосибирский метрополитен</a:t>
            </a:r>
          </a:p>
        </p:txBody>
      </p:sp>
      <p:sp>
        <p:nvSpPr>
          <p:cNvPr id="19" name="TextBox 35"/>
          <p:cNvSpPr txBox="1"/>
          <p:nvPr/>
        </p:nvSpPr>
        <p:spPr>
          <a:xfrm>
            <a:off x="6804248" y="1267236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Казанский метрополитен</a:t>
            </a:r>
          </a:p>
        </p:txBody>
      </p:sp>
      <p:sp>
        <p:nvSpPr>
          <p:cNvPr id="25" name="TextBox 35"/>
          <p:cNvSpPr txBox="1"/>
          <p:nvPr/>
        </p:nvSpPr>
        <p:spPr>
          <a:xfrm>
            <a:off x="539552" y="3023950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Автобусы в Москве</a:t>
            </a:r>
          </a:p>
        </p:txBody>
      </p:sp>
      <p:sp>
        <p:nvSpPr>
          <p:cNvPr id="26" name="TextBox 35"/>
          <p:cNvSpPr txBox="1"/>
          <p:nvPr/>
        </p:nvSpPr>
        <p:spPr>
          <a:xfrm>
            <a:off x="3635896" y="3023950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Автобусы в Санкт-Петербурге</a:t>
            </a:r>
          </a:p>
        </p:txBody>
      </p:sp>
      <p:sp>
        <p:nvSpPr>
          <p:cNvPr id="27" name="TextBox 35"/>
          <p:cNvSpPr txBox="1"/>
          <p:nvPr/>
        </p:nvSpPr>
        <p:spPr>
          <a:xfrm>
            <a:off x="6804248" y="3014786"/>
            <a:ext cx="20162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/>
              <a:t>Автобусы в Московской области</a:t>
            </a:r>
          </a:p>
        </p:txBody>
      </p:sp>
      <p:pic>
        <p:nvPicPr>
          <p:cNvPr id="31" name="Picture 2" descr="C:\Users\makarow-aa\Documents\02. ТСП\01. Транспорт\01. Метрополитен\Новосибирск\Турникет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90"/>
          <a:stretch/>
        </p:blipFill>
        <p:spPr bwMode="auto">
          <a:xfrm>
            <a:off x="3995936" y="1852464"/>
            <a:ext cx="1324438" cy="86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852464"/>
            <a:ext cx="1320503" cy="861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6" descr="http://prav.tatarstan.ru/file/photoreport/view_673796_1026505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63" t="5064" r="5770" b="9314"/>
          <a:stretch/>
        </p:blipFill>
        <p:spPr bwMode="auto">
          <a:xfrm>
            <a:off x="7067920" y="1852464"/>
            <a:ext cx="1320504" cy="862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" descr="C:\Users\makarow-aa\Documents\02. ТСП\01. Транспорт\05. Мосгортранс\PayPass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3763194"/>
            <a:ext cx="1296144" cy="863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7" descr="http://lamcdn.net/the-village.ru/post_image-image/8WCKppEoNTWv7lwdItDlTQ-article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7" y="3773931"/>
            <a:ext cx="1296144" cy="865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C:\Users\makarow-aa\Documents\02. ТСП\01. Транспорт\02. Московская область\Валидатор на выставке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32"/>
          <a:stretch/>
        </p:blipFill>
        <p:spPr bwMode="auto">
          <a:xfrm>
            <a:off x="7044275" y="3803194"/>
            <a:ext cx="1344149" cy="85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4743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58459" y="8519"/>
            <a:ext cx="3737477" cy="1024783"/>
          </a:xfrm>
        </p:spPr>
        <p:txBody>
          <a:bodyPr/>
          <a:lstStyle/>
          <a:p>
            <a:r>
              <a:rPr lang="ru-RU" dirty="0" smtClean="0"/>
              <a:t>Рынок общественного транспорта в РФ</a:t>
            </a:r>
            <a:endParaRPr lang="ru-RU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3470430"/>
              </p:ext>
            </p:extLst>
          </p:nvPr>
        </p:nvGraphicFramePr>
        <p:xfrm>
          <a:off x="107504" y="1996480"/>
          <a:ext cx="3168352" cy="2398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Прямоугольник 30"/>
          <p:cNvSpPr/>
          <p:nvPr/>
        </p:nvSpPr>
        <p:spPr>
          <a:xfrm>
            <a:off x="107504" y="1132384"/>
            <a:ext cx="2952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>Оборот рынка</a:t>
            </a:r>
          </a:p>
          <a:p>
            <a:r>
              <a:rPr lang="ru-RU" sz="1100" dirty="0" smtClean="0">
                <a:solidFill>
                  <a:srgbClr val="000000"/>
                </a:solidFill>
              </a:rPr>
              <a:t>млрд.руб. в год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16" name="Прямоугольник 30"/>
          <p:cNvSpPr/>
          <p:nvPr/>
        </p:nvSpPr>
        <p:spPr>
          <a:xfrm>
            <a:off x="3275856" y="1135491"/>
            <a:ext cx="27363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По видам транспорта в 2015 году</a:t>
            </a:r>
          </a:p>
          <a:p>
            <a:r>
              <a:rPr lang="ru-RU" sz="1100" dirty="0" smtClean="0"/>
              <a:t>млрд.руб. в год</a:t>
            </a:r>
            <a:endParaRPr lang="ru-RU" sz="1100" dirty="0"/>
          </a:p>
        </p:txBody>
      </p: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207300"/>
              </p:ext>
            </p:extLst>
          </p:nvPr>
        </p:nvGraphicFramePr>
        <p:xfrm>
          <a:off x="2987824" y="1924472"/>
          <a:ext cx="3870176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5464836"/>
              </p:ext>
            </p:extLst>
          </p:nvPr>
        </p:nvGraphicFramePr>
        <p:xfrm>
          <a:off x="6516216" y="2068488"/>
          <a:ext cx="2627784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Прямоугольник 30"/>
          <p:cNvSpPr/>
          <p:nvPr/>
        </p:nvSpPr>
        <p:spPr>
          <a:xfrm>
            <a:off x="6732240" y="1132384"/>
            <a:ext cx="23762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Пассажиропоток в 2015 году</a:t>
            </a:r>
          </a:p>
          <a:p>
            <a:r>
              <a:rPr lang="ru-RU" sz="1100" dirty="0" smtClean="0"/>
              <a:t>млн. поездок в год</a:t>
            </a:r>
            <a:endParaRPr lang="ru-RU" sz="1100" dirty="0"/>
          </a:p>
        </p:txBody>
      </p:sp>
      <p:sp>
        <p:nvSpPr>
          <p:cNvPr id="3" name="Rectangle 2"/>
          <p:cNvSpPr/>
          <p:nvPr/>
        </p:nvSpPr>
        <p:spPr>
          <a:xfrm>
            <a:off x="3043089" y="4831214"/>
            <a:ext cx="253702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u="sng" dirty="0"/>
              <a:t>https://www.fedstat.ru/indicator/33843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69805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524434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8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9965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Проекты Сибирского банка в общественном транспорте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8" name="TextBox 35"/>
          <p:cNvSpPr txBox="1"/>
          <p:nvPr/>
        </p:nvSpPr>
        <p:spPr>
          <a:xfrm>
            <a:off x="0" y="1060376"/>
            <a:ext cx="2016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600" b="1" dirty="0" smtClean="0"/>
              <a:t>Новосибирский метрополитен</a:t>
            </a:r>
          </a:p>
        </p:txBody>
      </p:sp>
      <p:pic>
        <p:nvPicPr>
          <p:cNvPr id="31" name="Picture 2" descr="C:\Users\makarow-aa\Documents\02. ТСП\01. Транспорт\01. Метрополитен\Новосибирск\Турникет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90"/>
          <a:stretch/>
        </p:blipFill>
        <p:spPr bwMode="auto">
          <a:xfrm>
            <a:off x="107504" y="1780456"/>
            <a:ext cx="2738696" cy="178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7" name="Диаграмма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6521811"/>
              </p:ext>
            </p:extLst>
          </p:nvPr>
        </p:nvGraphicFramePr>
        <p:xfrm>
          <a:off x="3347864" y="940024"/>
          <a:ext cx="3958048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38" name="Диаграм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61443369"/>
              </p:ext>
            </p:extLst>
          </p:nvPr>
        </p:nvGraphicFramePr>
        <p:xfrm>
          <a:off x="3273464" y="2792488"/>
          <a:ext cx="4106646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97420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667084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9965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Проекты Сибирского банка в общественном транспорте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9" name="Picture 2" descr="\\Tb-fs01\department\UTE\Паренков\Слет Менеджеров РГС 13-15.02.2017\Фото Троллейбус №2\2M9A8793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1" y="1708447"/>
            <a:ext cx="3432909" cy="272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0" y="1080965"/>
            <a:ext cx="8892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Пилотный проект на базе МУП ГЭТ. </a:t>
            </a:r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Оплата проезда банковскими картами (бесконтактными) Троллейбусный </a:t>
            </a:r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маршрут №2, 20 бортов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-36512" y="4508015"/>
            <a:ext cx="412622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Официальный старт проекта – </a:t>
            </a:r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07.02.2017 г. </a:t>
            </a:r>
            <a:endParaRPr lang="ru-RU" sz="1400" b="1" dirty="0" smtClean="0">
              <a:solidFill>
                <a:srgbClr val="FF9933"/>
              </a:solidFill>
              <a:latin typeface="Arial-BoldMT"/>
            </a:endParaRPr>
          </a:p>
        </p:txBody>
      </p:sp>
      <p:pic>
        <p:nvPicPr>
          <p:cNvPr id="12" name="Picture 2" descr="\\Tb-fs01\department\UTE\Паренков\Слет Менеджеров РГС 13-15.02.2017\newpos8210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2373796"/>
            <a:ext cx="1876135" cy="139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3584543" y="1850576"/>
            <a:ext cx="25922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+mj-ea"/>
                <a:cs typeface="+mj-cs"/>
              </a:rPr>
              <a:t>Оборудование.</a:t>
            </a:r>
          </a:p>
          <a:p>
            <a:r>
              <a:rPr lang="ru-RU" sz="1400" b="1" dirty="0">
                <a:solidFill>
                  <a:schemeClr val="accent1"/>
                </a:solidFill>
                <a:ea typeface="+mj-ea"/>
                <a:cs typeface="+mj-cs"/>
              </a:rPr>
              <a:t>Терминал </a:t>
            </a:r>
            <a:r>
              <a:rPr lang="en-US" sz="1400" b="1" dirty="0">
                <a:solidFill>
                  <a:schemeClr val="accent1"/>
                </a:solidFill>
                <a:ea typeface="+mj-ea"/>
                <a:cs typeface="+mj-cs"/>
              </a:rPr>
              <a:t>NewPos8210</a:t>
            </a:r>
            <a:endParaRPr lang="ru-RU" sz="1400" b="1" dirty="0">
              <a:solidFill>
                <a:schemeClr val="accent1"/>
              </a:solidFill>
              <a:ea typeface="+mj-ea"/>
              <a:cs typeface="+mj-cs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9757" y="3104992"/>
            <a:ext cx="819967" cy="5162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2466560"/>
            <a:ext cx="813668" cy="523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 descr="\\Tb-fs01\department\UTE\Паренков\Слет Менеджеров РГС 13-15.02.2017\Фото Троллейбус №2\2M9A8837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1708448"/>
            <a:ext cx="3066218" cy="272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2946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370408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3996553" cy="1024783"/>
          </a:xfrm>
        </p:spPr>
        <p:txBody>
          <a:bodyPr vert="horz" wrap="square" lIns="0" tIns="45720" rIns="91440" bIns="45720" rtlCol="0" anchor="ctr" anchorCtr="0">
            <a:no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Проекты Сибирского банка в общественном транспорте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37990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240" y="1132383"/>
            <a:ext cx="2102024" cy="19442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9908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751" y="3127304"/>
            <a:ext cx="2089513" cy="19148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991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77" y="1864179"/>
            <a:ext cx="2902124" cy="2508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9913" name="Picture 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243" y="2320510"/>
            <a:ext cx="1188138" cy="118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3018941" y="1761292"/>
            <a:ext cx="25922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1"/>
                </a:solidFill>
                <a:ea typeface="+mj-ea"/>
                <a:cs typeface="+mj-cs"/>
              </a:rPr>
              <a:t>Оборудование.</a:t>
            </a:r>
          </a:p>
          <a:p>
            <a:r>
              <a:rPr lang="ru-RU" sz="1400" b="1" dirty="0">
                <a:solidFill>
                  <a:schemeClr val="accent1"/>
                </a:solidFill>
                <a:ea typeface="+mj-ea"/>
                <a:cs typeface="+mj-cs"/>
              </a:rPr>
              <a:t>Терминал </a:t>
            </a:r>
            <a:r>
              <a:rPr lang="en-US" sz="1400" b="1" dirty="0" smtClean="0">
                <a:solidFill>
                  <a:schemeClr val="accent1"/>
                </a:solidFill>
                <a:ea typeface="+mj-ea"/>
                <a:cs typeface="+mj-cs"/>
              </a:rPr>
              <a:t>IWL220</a:t>
            </a:r>
            <a:endParaRPr lang="ru-RU" sz="1400" b="1" dirty="0">
              <a:solidFill>
                <a:schemeClr val="accent1"/>
              </a:solidFill>
              <a:ea typeface="+mj-ea"/>
              <a:cs typeface="+mj-cs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5718" y="2336777"/>
            <a:ext cx="813668" cy="523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3105243" y="3777516"/>
            <a:ext cx="305093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FF9933"/>
                </a:solidFill>
                <a:latin typeface="Arial-BoldMT"/>
              </a:rPr>
              <a:t>Прием бесконтактных и чиповых банковских карт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1080965"/>
            <a:ext cx="6588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FF9933"/>
                </a:solidFill>
                <a:latin typeface="Arial-BoldMT"/>
              </a:rPr>
              <a:t>Пилотный проект на базе МУП БАТП г. </a:t>
            </a:r>
            <a:r>
              <a:rPr lang="ru-RU" sz="1200" b="1" dirty="0" smtClean="0">
                <a:solidFill>
                  <a:srgbClr val="FF9933"/>
                </a:solidFill>
                <a:latin typeface="Arial-BoldMT"/>
              </a:rPr>
              <a:t>Бердск.</a:t>
            </a:r>
          </a:p>
          <a:p>
            <a:endParaRPr lang="ru-RU" sz="1200" b="1" dirty="0" smtClean="0">
              <a:solidFill>
                <a:srgbClr val="FF9933"/>
              </a:solidFill>
              <a:latin typeface="Arial-BoldMT"/>
            </a:endParaRPr>
          </a:p>
          <a:p>
            <a:r>
              <a:rPr lang="ru-RU" sz="1200" b="1" dirty="0" smtClean="0">
                <a:solidFill>
                  <a:srgbClr val="FF9933"/>
                </a:solidFill>
                <a:latin typeface="Arial-BoldMT"/>
              </a:rPr>
              <a:t>Весь </a:t>
            </a:r>
            <a:r>
              <a:rPr lang="ru-RU" sz="1200" b="1" dirty="0" smtClean="0">
                <a:solidFill>
                  <a:srgbClr val="FF9933"/>
                </a:solidFill>
                <a:latin typeface="Arial-BoldMT"/>
              </a:rPr>
              <a:t>парк Муниципального </a:t>
            </a:r>
            <a:r>
              <a:rPr lang="ru-RU" sz="1200" b="1" dirty="0" smtClean="0">
                <a:solidFill>
                  <a:srgbClr val="FF9933"/>
                </a:solidFill>
                <a:latin typeface="Arial-BoldMT"/>
              </a:rPr>
              <a:t>транспорта.</a:t>
            </a:r>
            <a:endParaRPr lang="ru-RU" sz="1200" b="1" dirty="0" smtClean="0">
              <a:solidFill>
                <a:srgbClr val="FF9933"/>
              </a:solidFill>
              <a:latin typeface="Arial-BoldMT"/>
            </a:endParaRPr>
          </a:p>
        </p:txBody>
      </p:sp>
    </p:spTree>
    <p:extLst>
      <p:ext uri="{BB962C8B-B14F-4D97-AF65-F5344CB8AC3E}">
        <p14:creationId xmlns:p14="http://schemas.microsoft.com/office/powerpoint/2010/main" val="1290179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608694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07504" y="1924472"/>
            <a:ext cx="892899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3600" b="1" dirty="0" smtClean="0">
                <a:solidFill>
                  <a:srgbClr val="0B592A"/>
                </a:solidFill>
                <a:latin typeface="Arial-BoldMT"/>
              </a:rPr>
              <a:t>СПАСИБО ЗА ВНИМАНИЕ!</a:t>
            </a:r>
          </a:p>
          <a:p>
            <a:pPr lvl="0" algn="ctr"/>
            <a:endParaRPr lang="ru-RU" sz="3600" b="1" dirty="0" smtClean="0">
              <a:solidFill>
                <a:srgbClr val="0B592A"/>
              </a:solidFill>
              <a:latin typeface="Arial-BoldMT"/>
            </a:endParaRPr>
          </a:p>
          <a:p>
            <a:pPr lvl="0" algn="ctr"/>
            <a:r>
              <a:rPr lang="ru-RU" sz="3600" b="1" dirty="0" smtClean="0">
                <a:solidFill>
                  <a:srgbClr val="0B592A"/>
                </a:solidFill>
                <a:latin typeface="Arial-BoldMT"/>
              </a:rPr>
              <a:t>ГОТОВЫ ОТВЕТИТЬ НА ВОПРОСЫ!</a:t>
            </a:r>
            <a:endParaRPr lang="ru-RU" sz="3600" b="1" dirty="0">
              <a:solidFill>
                <a:srgbClr val="0B592A"/>
              </a:solidFill>
              <a:latin typeface="Arial-BoldM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984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162089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107504" y="1924472"/>
            <a:ext cx="89289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Региональный </a:t>
            </a:r>
            <a:r>
              <a:rPr lang="ru-RU" sz="1600" b="1" dirty="0">
                <a:solidFill>
                  <a:srgbClr val="0B592A"/>
                </a:solidFill>
                <a:latin typeface="Arial-BoldMT"/>
              </a:rPr>
              <a:t>директор по работе с органами власти </a:t>
            </a:r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Новосибирского </a:t>
            </a:r>
            <a:r>
              <a:rPr lang="ru-RU" sz="1600" b="1" dirty="0">
                <a:solidFill>
                  <a:srgbClr val="0B592A"/>
                </a:solidFill>
                <a:latin typeface="Arial-BoldMT"/>
              </a:rPr>
              <a:t>ГОСБ № </a:t>
            </a:r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8047</a:t>
            </a:r>
          </a:p>
          <a:p>
            <a:pPr lvl="0"/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Устенко Денис Анатольевич </a:t>
            </a:r>
            <a:r>
              <a:rPr lang="ru-RU" sz="1600" b="1" dirty="0">
                <a:solidFill>
                  <a:srgbClr val="0B592A"/>
                </a:solidFill>
                <a:latin typeface="Arial-BoldMT"/>
              </a:rPr>
              <a:t>+7 (383) </a:t>
            </a:r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212-24-38</a:t>
            </a:r>
          </a:p>
          <a:p>
            <a:pPr lvl="0"/>
            <a:endParaRPr lang="ru-RU" sz="1600" b="1" dirty="0">
              <a:solidFill>
                <a:srgbClr val="0B592A"/>
              </a:solidFill>
              <a:latin typeface="Arial-BoldMT"/>
            </a:endParaRPr>
          </a:p>
          <a:p>
            <a:pPr lvl="0"/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Руководитель проектов УТЭ Сибирского банка</a:t>
            </a:r>
          </a:p>
          <a:p>
            <a:pPr lvl="0"/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Паренков Алексей Анатольевич </a:t>
            </a:r>
            <a:r>
              <a:rPr lang="ru-RU" sz="1600" b="1" dirty="0">
                <a:solidFill>
                  <a:srgbClr val="0B592A"/>
                </a:solidFill>
                <a:latin typeface="Arial-BoldMT"/>
              </a:rPr>
              <a:t>+7 (383) </a:t>
            </a:r>
            <a:r>
              <a:rPr lang="ru-RU" sz="1600" b="1" dirty="0" smtClean="0">
                <a:solidFill>
                  <a:srgbClr val="0B592A"/>
                </a:solidFill>
                <a:latin typeface="Arial-BoldMT"/>
              </a:rPr>
              <a:t>212-25-92</a:t>
            </a:r>
            <a:endParaRPr lang="ru-RU" sz="1600" b="1" dirty="0">
              <a:solidFill>
                <a:srgbClr val="0B592A"/>
              </a:solidFill>
              <a:latin typeface="Arial-BoldM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  <a:latin typeface="+mn-lt"/>
              </a:rPr>
              <a:t>КОНТАКТЫ В СБЕРБАНКЕ</a:t>
            </a:r>
            <a:endParaRPr lang="ru-RU" dirty="0">
              <a:solidFill>
                <a:schemeClr val="accent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3552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5" t="9528" b="10647"/>
          <a:stretch/>
        </p:blipFill>
        <p:spPr bwMode="auto">
          <a:xfrm>
            <a:off x="899592" y="1276400"/>
            <a:ext cx="6860135" cy="3499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0" y="1924472"/>
            <a:ext cx="9144000" cy="2016000"/>
          </a:xfrm>
          <a:prstGeom prst="rect">
            <a:avLst/>
          </a:prstGeom>
          <a:solidFill>
            <a:sysClr val="window" lastClr="FFFFFF">
              <a:lumMod val="95000"/>
              <a:alpha val="71000"/>
            </a:sys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2719462"/>
            <a:ext cx="18002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sz="1600" dirty="0" smtClean="0">
                <a:latin typeface="+mj-lt"/>
              </a:rPr>
              <a:t>Локальные транспортные карты</a:t>
            </a:r>
            <a:endParaRPr sz="1600" dirty="0"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23528" y="2086102"/>
            <a:ext cx="864096" cy="646331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pPr algn="ctr" defTabSz="457200"/>
            <a:r>
              <a:rPr sz="3600" b="1" smtClean="0">
                <a:solidFill>
                  <a:prstClr val="white"/>
                </a:solidFill>
              </a:rPr>
              <a:t>35</a:t>
            </a:r>
            <a:endParaRPr sz="3600" b="1">
              <a:solidFill>
                <a:prstClr val="white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259253" y="2750239"/>
            <a:ext cx="1675559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457200"/>
            <a:r>
              <a:rPr lang="ru-RU" sz="1600" dirty="0" smtClean="0">
                <a:latin typeface="+mj-lt"/>
              </a:rPr>
              <a:t>Только наличные</a:t>
            </a:r>
            <a:endParaRPr sz="1600" dirty="0"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029092" y="2086101"/>
            <a:ext cx="837780" cy="646331"/>
          </a:xfrm>
          <a:prstGeom prst="rect">
            <a:avLst/>
          </a:prstGeom>
          <a:solidFill>
            <a:sysClr val="window" lastClr="FFFFFF">
              <a:lumMod val="65000"/>
            </a:sysClr>
          </a:solidFill>
        </p:spPr>
        <p:txBody>
          <a:bodyPr wrap="square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45</a:t>
            </a:r>
          </a:p>
        </p:txBody>
      </p:sp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258459" y="8519"/>
            <a:ext cx="2585349" cy="1024783"/>
          </a:xfrm>
        </p:spPr>
        <p:txBody>
          <a:bodyPr/>
          <a:lstStyle/>
          <a:p>
            <a:r>
              <a:rPr lang="ru-RU" dirty="0" smtClean="0"/>
              <a:t>Наземный транспорт</a:t>
            </a:r>
            <a:endParaRPr lang="ru-RU" dirty="0"/>
          </a:p>
        </p:txBody>
      </p:sp>
      <p:graphicFrame>
        <p:nvGraphicFramePr>
          <p:cNvPr id="20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3529453"/>
              </p:ext>
            </p:extLst>
          </p:nvPr>
        </p:nvGraphicFramePr>
        <p:xfrm>
          <a:off x="2411760" y="1626670"/>
          <a:ext cx="4176464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Прямоугольник 3"/>
          <p:cNvSpPr/>
          <p:nvPr/>
        </p:nvSpPr>
        <p:spPr>
          <a:xfrm>
            <a:off x="4077713" y="3254705"/>
            <a:ext cx="98989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Bebas Neue Bold" pitchFamily="34" charset="-52"/>
              </a:rPr>
              <a:t>Население страны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18"/>
          <p:cNvSpPr/>
          <p:nvPr/>
        </p:nvSpPr>
        <p:spPr>
          <a:xfrm>
            <a:off x="4068303" y="3712751"/>
            <a:ext cx="12961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  <a:latin typeface="Bebas Neue Bold" pitchFamily="34" charset="-52"/>
              </a:rPr>
              <a:t>Годовой оборот, млрд.руб.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4" name="Нашивка 14"/>
          <p:cNvSpPr/>
          <p:nvPr/>
        </p:nvSpPr>
        <p:spPr>
          <a:xfrm>
            <a:off x="2119907" y="277914"/>
            <a:ext cx="288032" cy="504056"/>
          </a:xfrm>
          <a:prstGeom prst="chevron">
            <a:avLst>
              <a:gd name="adj" fmla="val 633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Прямоугольник 19"/>
          <p:cNvSpPr/>
          <p:nvPr/>
        </p:nvSpPr>
        <p:spPr>
          <a:xfrm>
            <a:off x="2699791" y="194716"/>
            <a:ext cx="194421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sz="2000" b="1" dirty="0" smtClean="0">
                <a:solidFill>
                  <a:schemeClr val="bg2">
                    <a:lumMod val="25000"/>
                  </a:schemeClr>
                </a:solidFill>
              </a:rPr>
              <a:t>Рынок платежей</a:t>
            </a:r>
            <a:endParaRPr sz="16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7" name="Прямоугольник 11"/>
          <p:cNvSpPr/>
          <p:nvPr/>
        </p:nvSpPr>
        <p:spPr>
          <a:xfrm>
            <a:off x="228281" y="1750784"/>
            <a:ext cx="18002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sz="1400" dirty="0" smtClean="0">
                <a:latin typeface="+mj-lt"/>
              </a:rPr>
              <a:t>Субъекты РФ</a:t>
            </a:r>
            <a:endParaRPr sz="1400" dirty="0">
              <a:latin typeface="+mj-lt"/>
            </a:endParaRPr>
          </a:p>
        </p:txBody>
      </p:sp>
      <p:sp>
        <p:nvSpPr>
          <p:cNvPr id="19" name="Прямоугольник 11"/>
          <p:cNvSpPr/>
          <p:nvPr/>
        </p:nvSpPr>
        <p:spPr>
          <a:xfrm>
            <a:off x="7668343" y="1780456"/>
            <a:ext cx="147565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ru-RU" sz="1400" dirty="0" smtClean="0">
                <a:latin typeface="+mj-lt"/>
              </a:rPr>
              <a:t>Субъекты РФ</a:t>
            </a:r>
            <a:endParaRPr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24320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341" name="Picture 13" descr="Картинки по запросу кассы метро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974" r="20816" b="17034"/>
          <a:stretch/>
        </p:blipFill>
        <p:spPr bwMode="auto">
          <a:xfrm>
            <a:off x="2339752" y="2557704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43" name="Picture 15" descr="Картинки по запросу маршрут автобуса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" r="8007" b="47686"/>
          <a:stretch/>
        </p:blipFill>
        <p:spPr bwMode="auto">
          <a:xfrm>
            <a:off x="42668" y="2553494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45" name="Picture 17" descr="Картинки по запросу пассажир в автобусе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808"/>
          <a:stretch/>
        </p:blipFill>
        <p:spPr bwMode="auto">
          <a:xfrm>
            <a:off x="4634383" y="2558950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54" name="Picture 26" descr="Картинки по запросу контакт центр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408"/>
          <a:stretch/>
        </p:blipFill>
        <p:spPr bwMode="auto">
          <a:xfrm>
            <a:off x="6932496" y="2557803"/>
            <a:ext cx="2163379" cy="99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367233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1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251520" y="0"/>
            <a:ext cx="2189667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Клиентский опыт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55576" y="1230416"/>
            <a:ext cx="18961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Спланировать поездку</a:t>
            </a:r>
          </a:p>
        </p:txBody>
      </p:sp>
      <p:sp>
        <p:nvSpPr>
          <p:cNvPr id="3" name="Нашивка 2"/>
          <p:cNvSpPr/>
          <p:nvPr/>
        </p:nvSpPr>
        <p:spPr>
          <a:xfrm>
            <a:off x="2051720" y="1103509"/>
            <a:ext cx="648072" cy="1296144"/>
          </a:xfrm>
          <a:prstGeom prst="chevron">
            <a:avLst>
              <a:gd name="adj" fmla="val 6814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7" name="Нашивка 56"/>
          <p:cNvSpPr/>
          <p:nvPr/>
        </p:nvSpPr>
        <p:spPr>
          <a:xfrm>
            <a:off x="4355976" y="1101840"/>
            <a:ext cx="648072" cy="1296144"/>
          </a:xfrm>
          <a:prstGeom prst="chevron">
            <a:avLst>
              <a:gd name="adj" fmla="val 6814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8" name="Нашивка 57"/>
          <p:cNvSpPr/>
          <p:nvPr/>
        </p:nvSpPr>
        <p:spPr>
          <a:xfrm>
            <a:off x="6770740" y="1104802"/>
            <a:ext cx="648072" cy="1296144"/>
          </a:xfrm>
          <a:prstGeom prst="chevron">
            <a:avLst>
              <a:gd name="adj" fmla="val 6814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915816" y="1234708"/>
            <a:ext cx="14782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Оплатить билет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118789" y="1230816"/>
            <a:ext cx="16515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Совершить поездку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452320" y="1229626"/>
            <a:ext cx="16591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Получить поддержку</a:t>
            </a:r>
          </a:p>
        </p:txBody>
      </p:sp>
      <p:cxnSp>
        <p:nvCxnSpPr>
          <p:cNvPr id="62" name="Straight Connector 4"/>
          <p:cNvCxnSpPr/>
          <p:nvPr/>
        </p:nvCxnSpPr>
        <p:spPr>
          <a:xfrm>
            <a:off x="2286794" y="2399653"/>
            <a:ext cx="0" cy="2333131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4"/>
          <p:cNvCxnSpPr/>
          <p:nvPr/>
        </p:nvCxnSpPr>
        <p:spPr>
          <a:xfrm>
            <a:off x="0" y="2500536"/>
            <a:ext cx="9144000" cy="0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4"/>
          <p:cNvCxnSpPr/>
          <p:nvPr/>
        </p:nvCxnSpPr>
        <p:spPr>
          <a:xfrm>
            <a:off x="4578350" y="2418215"/>
            <a:ext cx="0" cy="2314569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4"/>
          <p:cNvCxnSpPr/>
          <p:nvPr/>
        </p:nvCxnSpPr>
        <p:spPr>
          <a:xfrm>
            <a:off x="6879431" y="2412653"/>
            <a:ext cx="0" cy="2320131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284" name="Прямоугольник 97283"/>
          <p:cNvSpPr/>
          <p:nvPr/>
        </p:nvSpPr>
        <p:spPr>
          <a:xfrm>
            <a:off x="411013" y="3686172"/>
            <a:ext cx="13852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Перевозчик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Яндекс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Google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Moovit</a:t>
            </a:r>
          </a:p>
        </p:txBody>
      </p:sp>
      <p:sp>
        <p:nvSpPr>
          <p:cNvPr id="97286" name="Прямоугольник 97285"/>
          <p:cNvSpPr/>
          <p:nvPr/>
        </p:nvSpPr>
        <p:spPr>
          <a:xfrm>
            <a:off x="2416127" y="3686172"/>
            <a:ext cx="21851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Купить в кассе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ополнить транспортную карту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Купить у кондуктора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7288" name="Прямоугольник 97287"/>
          <p:cNvSpPr/>
          <p:nvPr/>
        </p:nvSpPr>
        <p:spPr>
          <a:xfrm>
            <a:off x="4860032" y="3693465"/>
            <a:ext cx="13852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Метро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Наземка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7290" name="Прямоугольник 97289"/>
          <p:cNvSpPr/>
          <p:nvPr/>
        </p:nvSpPr>
        <p:spPr>
          <a:xfrm>
            <a:off x="7236296" y="3732338"/>
            <a:ext cx="13013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smtClean="0">
                <a:solidFill>
                  <a:srgbClr val="000000"/>
                </a:solidFill>
              </a:rPr>
              <a:t>Перевозчик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smtClean="0">
                <a:solidFill>
                  <a:srgbClr val="000000"/>
                </a:solidFill>
              </a:rPr>
              <a:t>Оператор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5" name="Заголовок 1"/>
          <p:cNvSpPr txBox="1">
            <a:spLocks/>
          </p:cNvSpPr>
          <p:nvPr/>
        </p:nvSpPr>
        <p:spPr>
          <a:xfrm>
            <a:off x="2771800" y="-204"/>
            <a:ext cx="936103" cy="1024783"/>
          </a:xfrm>
          <a:prstGeom prst="rect">
            <a:avLst/>
          </a:prstGeom>
        </p:spPr>
        <p:txBody>
          <a:bodyPr vert="horz" wrap="square" lIns="0" tIns="45720" rIns="91440" bIns="45720" rtlCol="0" anchor="ctr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100" b="1" kern="1200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4A452A"/>
                </a:solidFill>
              </a:rPr>
              <a:t>AS IS</a:t>
            </a:r>
            <a:endParaRPr lang="ru-RU" dirty="0">
              <a:solidFill>
                <a:srgbClr val="4A452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12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341" name="Picture 13" descr="Картинки по запросу кассы метро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8974" r="20816" b="17034"/>
          <a:stretch/>
        </p:blipFill>
        <p:spPr bwMode="auto">
          <a:xfrm>
            <a:off x="4644007" y="2565178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43" name="Picture 15" descr="Картинки по запросу маршрут автобуса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20" r="8007" b="47686"/>
          <a:stretch/>
        </p:blipFill>
        <p:spPr bwMode="auto">
          <a:xfrm>
            <a:off x="42668" y="2553494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45" name="Picture 17" descr="Картинки по запросу пассажир в автобусе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808"/>
          <a:stretch/>
        </p:blipFill>
        <p:spPr bwMode="auto">
          <a:xfrm>
            <a:off x="2328632" y="2553493"/>
            <a:ext cx="2198741" cy="997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7354" name="Picture 26" descr="Картинки по запросу контакт центр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408"/>
          <a:stretch/>
        </p:blipFill>
        <p:spPr bwMode="auto">
          <a:xfrm>
            <a:off x="6932496" y="2557803"/>
            <a:ext cx="2163379" cy="999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5623171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12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250968" y="0"/>
            <a:ext cx="2189667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Клиентский опыт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55576" y="1230416"/>
            <a:ext cx="18961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Спланировать поездку</a:t>
            </a:r>
          </a:p>
        </p:txBody>
      </p:sp>
      <p:sp>
        <p:nvSpPr>
          <p:cNvPr id="3" name="Нашивка 2"/>
          <p:cNvSpPr/>
          <p:nvPr/>
        </p:nvSpPr>
        <p:spPr>
          <a:xfrm>
            <a:off x="2051720" y="1103509"/>
            <a:ext cx="648072" cy="1296144"/>
          </a:xfrm>
          <a:prstGeom prst="chevron">
            <a:avLst>
              <a:gd name="adj" fmla="val 6814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8" name="Нашивка 57"/>
          <p:cNvSpPr/>
          <p:nvPr/>
        </p:nvSpPr>
        <p:spPr>
          <a:xfrm>
            <a:off x="6770740" y="1104802"/>
            <a:ext cx="648072" cy="1296144"/>
          </a:xfrm>
          <a:prstGeom prst="chevron">
            <a:avLst>
              <a:gd name="adj" fmla="val 6814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148064" y="1234708"/>
            <a:ext cx="147826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Оплатить билет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2555776" y="1230816"/>
            <a:ext cx="14928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Совершить поездку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449389" y="1229626"/>
            <a:ext cx="16591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ru-RU" b="1" smtClean="0"/>
              <a:t>Получить поддержку</a:t>
            </a:r>
          </a:p>
        </p:txBody>
      </p:sp>
      <p:cxnSp>
        <p:nvCxnSpPr>
          <p:cNvPr id="62" name="Straight Connector 4"/>
          <p:cNvCxnSpPr/>
          <p:nvPr/>
        </p:nvCxnSpPr>
        <p:spPr>
          <a:xfrm>
            <a:off x="2286794" y="2399653"/>
            <a:ext cx="0" cy="2333131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4"/>
          <p:cNvCxnSpPr/>
          <p:nvPr/>
        </p:nvCxnSpPr>
        <p:spPr>
          <a:xfrm>
            <a:off x="0" y="2500536"/>
            <a:ext cx="9144000" cy="0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4"/>
          <p:cNvCxnSpPr/>
          <p:nvPr/>
        </p:nvCxnSpPr>
        <p:spPr>
          <a:xfrm>
            <a:off x="4578350" y="2418215"/>
            <a:ext cx="0" cy="2314569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4"/>
          <p:cNvCxnSpPr/>
          <p:nvPr/>
        </p:nvCxnSpPr>
        <p:spPr>
          <a:xfrm>
            <a:off x="6879431" y="2412653"/>
            <a:ext cx="0" cy="2320131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284" name="Прямоугольник 97283"/>
          <p:cNvSpPr/>
          <p:nvPr/>
        </p:nvSpPr>
        <p:spPr>
          <a:xfrm>
            <a:off x="411013" y="3685763"/>
            <a:ext cx="13852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Перевозчик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Яндекс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Google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en-US" sz="1200">
                <a:solidFill>
                  <a:srgbClr val="000000"/>
                </a:solidFill>
              </a:rPr>
              <a:t>Moovit</a:t>
            </a:r>
          </a:p>
        </p:txBody>
      </p:sp>
      <p:sp>
        <p:nvSpPr>
          <p:cNvPr id="97286" name="Прямоугольник 97285"/>
          <p:cNvSpPr/>
          <p:nvPr/>
        </p:nvSpPr>
        <p:spPr>
          <a:xfrm>
            <a:off x="4657631" y="3712062"/>
            <a:ext cx="21851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Турникет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Кондуктор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FF0000"/>
                </a:solidFill>
              </a:rPr>
              <a:t>Web-</a:t>
            </a:r>
            <a:r>
              <a:rPr lang="ru-RU" sz="1200" dirty="0" smtClean="0">
                <a:solidFill>
                  <a:srgbClr val="FF0000"/>
                </a:solidFill>
              </a:rPr>
              <a:t>сервисы</a:t>
            </a:r>
          </a:p>
        </p:txBody>
      </p:sp>
      <p:sp>
        <p:nvSpPr>
          <p:cNvPr id="97288" name="Прямоугольник 97287"/>
          <p:cNvSpPr/>
          <p:nvPr/>
        </p:nvSpPr>
        <p:spPr>
          <a:xfrm>
            <a:off x="2735367" y="3712062"/>
            <a:ext cx="13852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Метро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>
                <a:solidFill>
                  <a:srgbClr val="000000"/>
                </a:solidFill>
              </a:rPr>
              <a:t>Наземка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97290" name="Прямоугольник 97289"/>
          <p:cNvSpPr/>
          <p:nvPr/>
        </p:nvSpPr>
        <p:spPr>
          <a:xfrm>
            <a:off x="7236296" y="3734297"/>
            <a:ext cx="130138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еревозчик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Оператор</a:t>
            </a:r>
          </a:p>
          <a:p>
            <a:pPr marL="285750" lvl="0" indent="-285750" defTabSz="45720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FF0000"/>
                </a:solidFill>
              </a:rPr>
              <a:t>Банк</a:t>
            </a:r>
            <a:endParaRPr lang="en-US" sz="1200" dirty="0">
              <a:solidFill>
                <a:srgbClr val="FF0000"/>
              </a:solidFill>
            </a:endParaRPr>
          </a:p>
        </p:txBody>
      </p:sp>
      <p:pic>
        <p:nvPicPr>
          <p:cNvPr id="26" name="Picture 2" descr="C:\Users\makarow-aa\Documents\07. Презентации\Картинки для создания презентаций\Users-Lifecycle-icon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7569" y="1132384"/>
            <a:ext cx="976408" cy="976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5"/>
          <p:cNvCxnSpPr/>
          <p:nvPr/>
        </p:nvCxnSpPr>
        <p:spPr>
          <a:xfrm flipH="1">
            <a:off x="4644008" y="2553493"/>
            <a:ext cx="2235423" cy="997915"/>
          </a:xfrm>
          <a:prstGeom prst="line">
            <a:avLst/>
          </a:prstGeom>
          <a:ln w="1143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4578350" y="2553493"/>
            <a:ext cx="2264398" cy="997915"/>
          </a:xfrm>
          <a:prstGeom prst="line">
            <a:avLst/>
          </a:prstGeom>
          <a:ln w="1143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Заголовок 1"/>
          <p:cNvSpPr txBox="1">
            <a:spLocks/>
          </p:cNvSpPr>
          <p:nvPr/>
        </p:nvSpPr>
        <p:spPr>
          <a:xfrm>
            <a:off x="2771800" y="-204"/>
            <a:ext cx="1008111" cy="1024783"/>
          </a:xfrm>
          <a:prstGeom prst="rect">
            <a:avLst/>
          </a:prstGeom>
        </p:spPr>
        <p:txBody>
          <a:bodyPr vert="horz" wrap="square" lIns="0" tIns="45720" rIns="91440" bIns="45720" rtlCol="0" anchor="ctr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100" b="1" kern="1200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rgbClr val="4A452A"/>
                </a:solidFill>
              </a:rPr>
              <a:t>TO BE</a:t>
            </a:r>
            <a:endParaRPr lang="ru-RU" dirty="0">
              <a:solidFill>
                <a:srgbClr val="4A452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40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4365423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Box 35"/>
          <p:cNvSpPr txBox="1"/>
          <p:nvPr/>
        </p:nvSpPr>
        <p:spPr>
          <a:xfrm>
            <a:off x="3131840" y="1195100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dirty="0" smtClean="0"/>
              <a:t>Три направления:</a:t>
            </a:r>
          </a:p>
        </p:txBody>
      </p:sp>
      <p:pic>
        <p:nvPicPr>
          <p:cNvPr id="13" name="Picture 2" descr="http://spnx.ru/img/mifare_logo_rgb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710020"/>
            <a:ext cx="1061690" cy="728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lus 2"/>
          <p:cNvSpPr/>
          <p:nvPr/>
        </p:nvSpPr>
        <p:spPr>
          <a:xfrm>
            <a:off x="1907704" y="2854036"/>
            <a:ext cx="360040" cy="393598"/>
          </a:xfrm>
          <a:prstGeom prst="mathPlus">
            <a:avLst>
              <a:gd name="adj1" fmla="val 16665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21" descr="mc_pp_zn.gif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64" t="8275" r="18810" b="11318"/>
          <a:stretch/>
        </p:blipFill>
        <p:spPr>
          <a:xfrm>
            <a:off x="2339752" y="2638012"/>
            <a:ext cx="720080" cy="803851"/>
          </a:xfrm>
          <a:prstGeom prst="rect">
            <a:avLst/>
          </a:prstGeom>
        </p:spPr>
      </p:pic>
      <p:sp>
        <p:nvSpPr>
          <p:cNvPr id="18" name="Прямоугольник 46"/>
          <p:cNvSpPr/>
          <p:nvPr/>
        </p:nvSpPr>
        <p:spPr>
          <a:xfrm>
            <a:off x="4202712" y="3538003"/>
            <a:ext cx="3825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Пополнение транспортных карт в инфраструктуре Сбербанка</a:t>
            </a:r>
          </a:p>
        </p:txBody>
      </p:sp>
      <p:sp>
        <p:nvSpPr>
          <p:cNvPr id="20" name="Прямоугольник 2"/>
          <p:cNvSpPr/>
          <p:nvPr/>
        </p:nvSpPr>
        <p:spPr>
          <a:xfrm>
            <a:off x="4202712" y="2063689"/>
            <a:ext cx="3825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Прием банковских карт в транспортных средствах</a:t>
            </a:r>
            <a:endParaRPr lang="ru-RU" dirty="0"/>
          </a:p>
        </p:txBody>
      </p:sp>
      <p:sp>
        <p:nvSpPr>
          <p:cNvPr id="23" name="Прямоугольник 4"/>
          <p:cNvSpPr/>
          <p:nvPr/>
        </p:nvSpPr>
        <p:spPr>
          <a:xfrm>
            <a:off x="4243340" y="2788568"/>
            <a:ext cx="3825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Стимулирование безналичных платежей</a:t>
            </a:r>
            <a:endParaRPr lang="ru-RU" dirty="0"/>
          </a:p>
        </p:txBody>
      </p:sp>
      <p:sp>
        <p:nvSpPr>
          <p:cNvPr id="24" name="Овал 5"/>
          <p:cNvSpPr/>
          <p:nvPr/>
        </p:nvSpPr>
        <p:spPr>
          <a:xfrm>
            <a:off x="3635896" y="2158836"/>
            <a:ext cx="494531" cy="4572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mtClean="0"/>
              <a:t>1</a:t>
            </a:r>
            <a:endParaRPr lang="ru-RU"/>
          </a:p>
        </p:txBody>
      </p:sp>
      <p:sp>
        <p:nvSpPr>
          <p:cNvPr id="25" name="Овал 47"/>
          <p:cNvSpPr/>
          <p:nvPr/>
        </p:nvSpPr>
        <p:spPr>
          <a:xfrm>
            <a:off x="3640088" y="2888356"/>
            <a:ext cx="494531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7" name="Овал 49"/>
          <p:cNvSpPr/>
          <p:nvPr/>
        </p:nvSpPr>
        <p:spPr>
          <a:xfrm>
            <a:off x="3640088" y="3579396"/>
            <a:ext cx="494531" cy="4572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  <p:cxnSp>
        <p:nvCxnSpPr>
          <p:cNvPr id="16" name="Straight Connector 4"/>
          <p:cNvCxnSpPr/>
          <p:nvPr/>
        </p:nvCxnSpPr>
        <p:spPr>
          <a:xfrm flipH="1">
            <a:off x="4067944" y="2788568"/>
            <a:ext cx="4176465" cy="0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4"/>
          <p:cNvCxnSpPr/>
          <p:nvPr/>
        </p:nvCxnSpPr>
        <p:spPr>
          <a:xfrm flipH="1">
            <a:off x="4067944" y="3508648"/>
            <a:ext cx="4176465" cy="0"/>
          </a:xfrm>
          <a:prstGeom prst="line">
            <a:avLst/>
          </a:prstGeom>
          <a:ln w="3175" cmpd="sng">
            <a:solidFill>
              <a:schemeClr val="bg2">
                <a:lumMod val="75000"/>
              </a:schemeClr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4464496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dirty="0" smtClean="0">
                <a:solidFill>
                  <a:schemeClr val="accent1"/>
                </a:solidFill>
              </a:rPr>
              <a:t>Опыт создания экосистемы платежей на транспорте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29" name="TextBox 35"/>
          <p:cNvSpPr txBox="1"/>
          <p:nvPr/>
        </p:nvSpPr>
        <p:spPr>
          <a:xfrm>
            <a:off x="323528" y="3521651"/>
            <a:ext cx="184513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000" dirty="0" smtClean="0"/>
              <a:t>Оплата транспортными картами и другими предоплаченными инструментами</a:t>
            </a:r>
          </a:p>
        </p:txBody>
      </p:sp>
      <p:sp>
        <p:nvSpPr>
          <p:cNvPr id="30" name="TextBox 35"/>
          <p:cNvSpPr txBox="1"/>
          <p:nvPr/>
        </p:nvSpPr>
        <p:spPr>
          <a:xfrm>
            <a:off x="2077326" y="3525439"/>
            <a:ext cx="17963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000" dirty="0" smtClean="0"/>
              <a:t>Оплата проезда банковской картой и другими </a:t>
            </a:r>
            <a:r>
              <a:rPr lang="en-US" sz="1000" dirty="0" smtClean="0"/>
              <a:t>EMV-</a:t>
            </a:r>
            <a:r>
              <a:rPr lang="ru-RU" sz="1000" dirty="0" smtClean="0"/>
              <a:t>инструментами</a:t>
            </a:r>
          </a:p>
        </p:txBody>
      </p:sp>
    </p:spTree>
    <p:extLst>
      <p:ext uri="{BB962C8B-B14F-4D97-AF65-F5344CB8AC3E}">
        <p14:creationId xmlns:p14="http://schemas.microsoft.com/office/powerpoint/2010/main" val="22103111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0" grpId="0"/>
      <p:bldP spid="23" grpId="0"/>
      <p:bldP spid="24" grpId="0" animBg="1"/>
      <p:bldP spid="25" grpId="0" animBg="1"/>
      <p:bldP spid="2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9680358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Прямоугольник 2"/>
          <p:cNvSpPr/>
          <p:nvPr/>
        </p:nvSpPr>
        <p:spPr>
          <a:xfrm>
            <a:off x="2771800" y="1141926"/>
            <a:ext cx="3825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Прием банковских карт в транспортных средствах</a:t>
            </a:r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2765731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smtClean="0">
                <a:solidFill>
                  <a:schemeClr val="accent1"/>
                </a:solidFill>
              </a:rPr>
              <a:t>Стратегия Сбербанка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2293846" y="10307"/>
            <a:ext cx="2995097" cy="1024783"/>
          </a:xfrm>
          <a:prstGeom prst="rect">
            <a:avLst/>
          </a:prstGeom>
        </p:spPr>
        <p:txBody>
          <a:bodyPr vert="horz" wrap="square" lIns="0" tIns="45720" rIns="91440" bIns="45720" rtlCol="0" anchor="ctr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100" b="1" kern="1200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</a:rPr>
              <a:t>Эволюция платежей в транспорте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8" name="Нашивка 14"/>
          <p:cNvSpPr/>
          <p:nvPr/>
        </p:nvSpPr>
        <p:spPr>
          <a:xfrm>
            <a:off x="1789294" y="277914"/>
            <a:ext cx="288032" cy="504056"/>
          </a:xfrm>
          <a:prstGeom prst="chevron">
            <a:avLst>
              <a:gd name="adj" fmla="val 633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TextBox 35"/>
          <p:cNvSpPr txBox="1"/>
          <p:nvPr/>
        </p:nvSpPr>
        <p:spPr>
          <a:xfrm>
            <a:off x="1403648" y="2049904"/>
            <a:ext cx="19442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ru-RU" sz="1400" dirty="0" smtClean="0"/>
              <a:t>Мобильные терминалы для кондукторов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80112" y="1996480"/>
            <a:ext cx="23042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</a:pPr>
            <a:r>
              <a:rPr lang="ru-RU" sz="1400" dirty="0">
                <a:solidFill>
                  <a:srgbClr val="000000"/>
                </a:solidFill>
              </a:rPr>
              <a:t>Стационарные </a:t>
            </a:r>
            <a:r>
              <a:rPr lang="ru-RU" sz="1400" dirty="0" smtClean="0">
                <a:solidFill>
                  <a:srgbClr val="000000"/>
                </a:solidFill>
              </a:rPr>
              <a:t>решения для бескондукторной схемы</a:t>
            </a:r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24" name="Picture 23" descr="Автобус Мск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088" y="2884775"/>
            <a:ext cx="2592288" cy="1461763"/>
          </a:xfrm>
          <a:prstGeom prst="rect">
            <a:avLst/>
          </a:prstGeom>
        </p:spPr>
      </p:pic>
      <p:pic>
        <p:nvPicPr>
          <p:cNvPr id="26" name="Picture 25" descr="15.jpg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73"/>
          <a:stretch/>
        </p:blipFill>
        <p:spPr>
          <a:xfrm>
            <a:off x="1105218" y="2884775"/>
            <a:ext cx="2686176" cy="1495539"/>
          </a:xfrm>
          <a:prstGeom prst="rect">
            <a:avLst/>
          </a:prstGeom>
        </p:spPr>
      </p:pic>
      <p:sp>
        <p:nvSpPr>
          <p:cNvPr id="21" name="Овал 5"/>
          <p:cNvSpPr/>
          <p:nvPr/>
        </p:nvSpPr>
        <p:spPr>
          <a:xfrm>
            <a:off x="2293846" y="1236491"/>
            <a:ext cx="494531" cy="457200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302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135525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7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4"/>
          <p:cNvSpPr/>
          <p:nvPr/>
        </p:nvSpPr>
        <p:spPr>
          <a:xfrm>
            <a:off x="2699792" y="1155684"/>
            <a:ext cx="331236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Стимулирование безналичных платежей</a:t>
            </a:r>
            <a:endParaRPr lang="ru-RU" dirty="0"/>
          </a:p>
        </p:txBody>
      </p:sp>
      <p:sp>
        <p:nvSpPr>
          <p:cNvPr id="16" name="Прямоугольник 4"/>
          <p:cNvSpPr/>
          <p:nvPr/>
        </p:nvSpPr>
        <p:spPr>
          <a:xfrm>
            <a:off x="251520" y="2957552"/>
            <a:ext cx="2439888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b="1" dirty="0" smtClean="0">
                <a:solidFill>
                  <a:srgbClr val="FF6600"/>
                </a:solidFill>
              </a:rPr>
              <a:t>Специальная цена билета</a:t>
            </a:r>
          </a:p>
        </p:txBody>
      </p:sp>
      <p:sp>
        <p:nvSpPr>
          <p:cNvPr id="17" name="Прямоугольник 4"/>
          <p:cNvSpPr/>
          <p:nvPr/>
        </p:nvSpPr>
        <p:spPr>
          <a:xfrm>
            <a:off x="3419872" y="2945902"/>
            <a:ext cx="2439888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b="1" dirty="0" smtClean="0">
                <a:solidFill>
                  <a:srgbClr val="FF6600"/>
                </a:solidFill>
              </a:rPr>
              <a:t>Инфо-материалы для пассажира</a:t>
            </a:r>
          </a:p>
        </p:txBody>
      </p:sp>
      <p:sp>
        <p:nvSpPr>
          <p:cNvPr id="21" name="Прямоугольник 4"/>
          <p:cNvSpPr/>
          <p:nvPr/>
        </p:nvSpPr>
        <p:spPr>
          <a:xfrm>
            <a:off x="6516216" y="2945902"/>
            <a:ext cx="2439888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b="1" dirty="0" smtClean="0">
                <a:solidFill>
                  <a:srgbClr val="FF6600"/>
                </a:solidFill>
              </a:rPr>
              <a:t>Мотивационные акции</a:t>
            </a:r>
          </a:p>
        </p:txBody>
      </p:sp>
      <p:sp>
        <p:nvSpPr>
          <p:cNvPr id="22" name="Прямоугольник 4"/>
          <p:cNvSpPr/>
          <p:nvPr/>
        </p:nvSpPr>
        <p:spPr>
          <a:xfrm>
            <a:off x="323528" y="3625655"/>
            <a:ext cx="2520280" cy="738664"/>
          </a:xfrm>
          <a:prstGeom prst="rect">
            <a:avLst/>
          </a:prstGeom>
          <a:noFill/>
          <a:ln>
            <a:solidFill>
              <a:srgbClr val="FFFFFF"/>
            </a:solidFill>
          </a:ln>
        </p:spPr>
        <p:txBody>
          <a:bodyPr wrap="square">
            <a:spAutoFit/>
          </a:bodyPr>
          <a:lstStyle/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Оплата картой дешевле наличных и не дороже транспортной карты</a:t>
            </a:r>
          </a:p>
        </p:txBody>
      </p:sp>
      <p:sp>
        <p:nvSpPr>
          <p:cNvPr id="26" name="Прямоугольник 4"/>
          <p:cNvSpPr/>
          <p:nvPr/>
        </p:nvSpPr>
        <p:spPr>
          <a:xfrm>
            <a:off x="3419872" y="3624788"/>
            <a:ext cx="2520280" cy="110799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Транспортные средства и остановки</a:t>
            </a:r>
          </a:p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Интернет</a:t>
            </a:r>
          </a:p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Гос. учреждения</a:t>
            </a:r>
          </a:p>
        </p:txBody>
      </p:sp>
      <p:sp>
        <p:nvSpPr>
          <p:cNvPr id="28" name="Прямоугольник 4"/>
          <p:cNvSpPr/>
          <p:nvPr/>
        </p:nvSpPr>
        <p:spPr>
          <a:xfrm>
            <a:off x="6228184" y="3678432"/>
            <a:ext cx="2736304" cy="103105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«Каждая 5-я поездка за счет Банка»</a:t>
            </a:r>
          </a:p>
          <a:p>
            <a:pPr marL="285750" indent="-285750" defTabSz="457200">
              <a:spcAft>
                <a:spcPts val="600"/>
              </a:spcAft>
              <a:buFont typeface="Arial"/>
              <a:buChar char="•"/>
            </a:pPr>
            <a:r>
              <a:rPr lang="ru-RU" sz="1400" dirty="0" smtClean="0"/>
              <a:t>Акции платежных систем и эмитентов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7584" y="1980808"/>
            <a:ext cx="995908" cy="99590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42536" y="2041166"/>
            <a:ext cx="817496" cy="81749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8888" y="2017866"/>
            <a:ext cx="923900" cy="923900"/>
          </a:xfrm>
          <a:prstGeom prst="rect">
            <a:avLst/>
          </a:prstGeom>
        </p:spPr>
      </p:pic>
      <p:sp>
        <p:nvSpPr>
          <p:cNvPr id="18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2765731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smtClean="0">
                <a:solidFill>
                  <a:schemeClr val="accent1"/>
                </a:solidFill>
              </a:rPr>
              <a:t>Стратегия Сбербанка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2293846" y="10307"/>
            <a:ext cx="2995097" cy="1024783"/>
          </a:xfrm>
          <a:prstGeom prst="rect">
            <a:avLst/>
          </a:prstGeom>
        </p:spPr>
        <p:txBody>
          <a:bodyPr vert="horz" wrap="square" lIns="0" tIns="45720" rIns="91440" bIns="45720" rtlCol="0" anchor="ctr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100" b="1" kern="1200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</a:rPr>
              <a:t>Эволюция платежей в транспорте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0" name="Нашивка 14"/>
          <p:cNvSpPr/>
          <p:nvPr/>
        </p:nvSpPr>
        <p:spPr>
          <a:xfrm>
            <a:off x="1789294" y="277914"/>
            <a:ext cx="288032" cy="504056"/>
          </a:xfrm>
          <a:prstGeom prst="chevron">
            <a:avLst>
              <a:gd name="adj" fmla="val 633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Овал 47"/>
          <p:cNvSpPr/>
          <p:nvPr/>
        </p:nvSpPr>
        <p:spPr>
          <a:xfrm>
            <a:off x="2196877" y="1250249"/>
            <a:ext cx="494531" cy="45720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8115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21" grpId="0"/>
      <p:bldP spid="22" grpId="0" animBg="1"/>
      <p:bldP spid="26" grpId="0"/>
      <p:bldP spid="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1844947"/>
              </p:ext>
            </p:extLst>
          </p:nvPr>
        </p:nvGraphicFramePr>
        <p:xfrm>
          <a:off x="159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46"/>
          <p:cNvSpPr/>
          <p:nvPr/>
        </p:nvSpPr>
        <p:spPr>
          <a:xfrm>
            <a:off x="2762552" y="1167334"/>
            <a:ext cx="382567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spcAft>
                <a:spcPts val="600"/>
              </a:spcAft>
            </a:pPr>
            <a:r>
              <a:rPr lang="ru-RU" dirty="0" smtClean="0"/>
              <a:t>Пополнение транспортных карт в инфраструктуре Сбербанка</a:t>
            </a:r>
          </a:p>
        </p:txBody>
      </p:sp>
      <p:pic>
        <p:nvPicPr>
          <p:cNvPr id="16" name="Picture 2" descr="Картинки по запросу банкоматы сбербанка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720" b="15419"/>
          <a:stretch/>
        </p:blipFill>
        <p:spPr bwMode="auto">
          <a:xfrm>
            <a:off x="3347864" y="2007063"/>
            <a:ext cx="1996281" cy="1651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СБОЛ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2007064"/>
            <a:ext cx="1964406" cy="1656184"/>
          </a:xfrm>
          <a:prstGeom prst="rect">
            <a:avLst/>
          </a:prstGeom>
        </p:spPr>
      </p:pic>
      <p:sp>
        <p:nvSpPr>
          <p:cNvPr id="19" name="Прямоугольник 6"/>
          <p:cNvSpPr/>
          <p:nvPr/>
        </p:nvSpPr>
        <p:spPr>
          <a:xfrm>
            <a:off x="3347864" y="3634661"/>
            <a:ext cx="20162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</a:rPr>
              <a:t>Пополнение и запись билета в УС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2" name="Прямоугольник 14"/>
          <p:cNvSpPr/>
          <p:nvPr/>
        </p:nvSpPr>
        <p:spPr>
          <a:xfrm>
            <a:off x="5724128" y="3706088"/>
            <a:ext cx="14401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</a:rPr>
              <a:t>Удаленное пополнение </a:t>
            </a:r>
            <a:r>
              <a:rPr lang="en-US" sz="1400" dirty="0" smtClean="0">
                <a:solidFill>
                  <a:srgbClr val="000000"/>
                </a:solidFill>
              </a:rPr>
              <a:t>- смс и СБОЛ</a:t>
            </a:r>
            <a:endParaRPr lang="ru-RU" sz="1400" dirty="0">
              <a:solidFill>
                <a:srgbClr val="000000"/>
              </a:solidFill>
            </a:endParaRPr>
          </a:p>
        </p:txBody>
      </p:sp>
      <p:pic>
        <p:nvPicPr>
          <p:cNvPr id="24" name="Picture 78" descr="Картинки по запросу банковская транспортная карта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91"/>
          <a:stretch/>
        </p:blipFill>
        <p:spPr bwMode="auto">
          <a:xfrm>
            <a:off x="1278301" y="1996480"/>
            <a:ext cx="1997555" cy="1663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6"/>
          <p:cNvSpPr/>
          <p:nvPr/>
        </p:nvSpPr>
        <p:spPr>
          <a:xfrm>
            <a:off x="1259632" y="3684378"/>
            <a:ext cx="178317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</a:rPr>
              <a:t>Транспортное приложение на банковской карте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79512" y="0"/>
            <a:ext cx="2765731" cy="1024783"/>
          </a:xfrm>
        </p:spPr>
        <p:txBody>
          <a:bodyPr vert="horz" wrap="square" lIns="0" tIns="45720" rIns="91440" bIns="45720" rtlCol="0" anchor="ctr" anchorCtr="0">
            <a:normAutofit/>
          </a:bodyPr>
          <a:lstStyle/>
          <a:p>
            <a:r>
              <a:rPr lang="ru-RU" smtClean="0">
                <a:solidFill>
                  <a:schemeClr val="accent1"/>
                </a:solidFill>
              </a:rPr>
              <a:t>Стратегия Сбербанка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2293846" y="10307"/>
            <a:ext cx="2995097" cy="1024783"/>
          </a:xfrm>
          <a:prstGeom prst="rect">
            <a:avLst/>
          </a:prstGeom>
        </p:spPr>
        <p:txBody>
          <a:bodyPr vert="horz" wrap="square" lIns="0" tIns="45720" rIns="91440" bIns="45720" rtlCol="0" anchor="ctr" anchorCtr="0">
            <a:normAutofit/>
          </a:bodyPr>
          <a:lstStyle>
            <a:lvl1pPr marL="0" indent="0" algn="l" defTabSz="457200" rtl="0" eaLnBrk="1" latinLnBrk="0" hangingPunct="1">
              <a:spcBef>
                <a:spcPct val="0"/>
              </a:spcBef>
              <a:buNone/>
              <a:defRPr sz="2100" b="1" kern="1200">
                <a:solidFill>
                  <a:srgbClr val="0B592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chemeClr val="bg2">
                    <a:lumMod val="25000"/>
                  </a:schemeClr>
                </a:solidFill>
              </a:rPr>
              <a:t>Эволюция платежей в транспорте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0" name="Нашивка 14"/>
          <p:cNvSpPr/>
          <p:nvPr/>
        </p:nvSpPr>
        <p:spPr>
          <a:xfrm>
            <a:off x="1789294" y="277914"/>
            <a:ext cx="288032" cy="504056"/>
          </a:xfrm>
          <a:prstGeom prst="chevron">
            <a:avLst>
              <a:gd name="adj" fmla="val 633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Овал 49"/>
          <p:cNvSpPr/>
          <p:nvPr/>
        </p:nvSpPr>
        <p:spPr>
          <a:xfrm>
            <a:off x="2274507" y="1261899"/>
            <a:ext cx="494531" cy="457200"/>
          </a:xfrm>
          <a:prstGeom prst="ellipse">
            <a:avLst/>
          </a:prstGeom>
          <a:solidFill>
            <a:srgbClr val="0070C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3237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/>
      <p:bldP spid="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W3h0IPC0Cmnm3TAVLK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Ndppg_p06oIAkRJSq9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WHzCX4XkmMIGdWMfyU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Главный слайд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Custom 7">
      <a:dk1>
        <a:srgbClr val="000000"/>
      </a:dk1>
      <a:lt1>
        <a:sysClr val="window" lastClr="FFFFFF"/>
      </a:lt1>
      <a:dk2>
        <a:srgbClr val="95C23F"/>
      </a:dk2>
      <a:lt2>
        <a:srgbClr val="EEECE1"/>
      </a:lt2>
      <a:accent1>
        <a:srgbClr val="0B592A"/>
      </a:accent1>
      <a:accent2>
        <a:srgbClr val="328263"/>
      </a:accent2>
      <a:accent3>
        <a:srgbClr val="FF6600"/>
      </a:accent3>
      <a:accent4>
        <a:srgbClr val="C6DE27"/>
      </a:accent4>
      <a:accent5>
        <a:srgbClr val="17AF38"/>
      </a:accent5>
      <a:accent6>
        <a:srgbClr val="FFAE18"/>
      </a:accent6>
      <a:hlink>
        <a:srgbClr val="0B592A"/>
      </a:hlink>
      <a:folHlink>
        <a:srgbClr val="17AF38"/>
      </a:folHlink>
    </a:clrScheme>
    <a:fontScheme name="Candara">
      <a:majorFont>
        <a:latin typeface="Candara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andara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Firm Format - Russian">
  <a:themeElements>
    <a:clrScheme name="new color schem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695</TotalTime>
  <Words>608</Words>
  <Application>Microsoft Office PowerPoint</Application>
  <PresentationFormat>Произвольный</PresentationFormat>
  <Paragraphs>175</Paragraphs>
  <Slides>2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9" baseType="lpstr">
      <vt:lpstr>Главный слайд</vt:lpstr>
      <vt:lpstr>1_Firm Format - Russian</vt:lpstr>
      <vt:lpstr>2_Office Theme</vt:lpstr>
      <vt:lpstr>Firm Format - Russian</vt:lpstr>
      <vt:lpstr>think-cell Slide</vt:lpstr>
      <vt:lpstr>  Безналичный Транспорт  </vt:lpstr>
      <vt:lpstr>Рынок общественного транспорта в РФ</vt:lpstr>
      <vt:lpstr>Наземный транспорт</vt:lpstr>
      <vt:lpstr>Клиентский опыт</vt:lpstr>
      <vt:lpstr>Клиентский опыт</vt:lpstr>
      <vt:lpstr>Опыт создания экосистемы платежей на транспорте</vt:lpstr>
      <vt:lpstr>Стратегия Сбербанка</vt:lpstr>
      <vt:lpstr>Стратегия Сбербанка</vt:lpstr>
      <vt:lpstr>Стратегия Сбербанка</vt:lpstr>
      <vt:lpstr>Банковская карта  для оплаты проезда</vt:lpstr>
      <vt:lpstr>Банковская карта  для оплаты проезда</vt:lpstr>
      <vt:lpstr>Банковская карта  для оплаты проезда</vt:lpstr>
      <vt:lpstr>Другие инструменты платежа</vt:lpstr>
      <vt:lpstr>Другие инструменты платежа</vt:lpstr>
      <vt:lpstr>Онлайн-сервисы для пассажира и перевозчика</vt:lpstr>
      <vt:lpstr>Личный кабинет пассажира</vt:lpstr>
      <vt:lpstr>Личный кабинет пассажира</vt:lpstr>
      <vt:lpstr>Консоль перевозчика</vt:lpstr>
      <vt:lpstr>Проекты Сбербанка в общественном транспорте</vt:lpstr>
      <vt:lpstr>Проекты Сибирского банка в общественном транспорте</vt:lpstr>
      <vt:lpstr>Проекты Сибирского банка в общественном транспорте</vt:lpstr>
      <vt:lpstr>Проекты Сибирского банка в общественном транспорте</vt:lpstr>
      <vt:lpstr>Презентация PowerPoint</vt:lpstr>
      <vt:lpstr>КОНТАКТЫ В СБЕРБАНК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каров Алексей</dc:creator>
  <cp:lastModifiedBy>Устенко Денис Анатольевич</cp:lastModifiedBy>
  <cp:revision>472</cp:revision>
  <cp:lastPrinted>2015-04-13T09:58:57Z</cp:lastPrinted>
  <dcterms:created xsi:type="dcterms:W3CDTF">2014-10-09T11:20:04Z</dcterms:created>
  <dcterms:modified xsi:type="dcterms:W3CDTF">2017-03-24T03:31:45Z</dcterms:modified>
</cp:coreProperties>
</file>